
<file path=[Content_Types].xml><?xml version="1.0" encoding="utf-8"?>
<Types xmlns="http://schemas.openxmlformats.org/package/2006/content-types">
  <Default Extension="jpeg" ContentType="image/jpeg"/>
  <Default Extension="jp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6" r:id="rId2"/>
    <p:sldId id="259" r:id="rId3"/>
    <p:sldId id="262" r:id="rId4"/>
    <p:sldId id="261" r:id="rId5"/>
    <p:sldId id="264" r:id="rId6"/>
    <p:sldId id="263" r:id="rId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30F22"/>
    <a:srgbClr val="C20F24"/>
    <a:srgbClr val="C00000"/>
    <a:srgbClr val="A50021"/>
    <a:srgbClr val="990033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8"/>
    <p:restoredTop sz="94693"/>
  </p:normalViewPr>
  <p:slideViewPr>
    <p:cSldViewPr snapToGrid="0">
      <p:cViewPr varScale="1">
        <p:scale>
          <a:sx n="86" d="100"/>
          <a:sy n="86" d="100"/>
        </p:scale>
        <p:origin x="105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47477360931436"/>
          <c:y val="3.6440084092501754E-2"/>
          <c:w val="0.57050452781371286"/>
          <c:h val="0.92711983181499646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A06-4D40-8C12-C2002721E8BA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A06-4D40-8C12-C2002721E8B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A06-4D40-8C12-C2002721E8B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A06-4D40-8C12-C2002721E8BA}"/>
              </c:ext>
            </c:extLst>
          </c:dPt>
          <c:dLbls>
            <c:dLbl>
              <c:idx val="0"/>
              <c:layout>
                <c:manualLayout>
                  <c:x val="4.5278137128072445E-2"/>
                  <c:y val="7.2880168185003508E-2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 spc="11">
                      <a:solidFill>
                        <a:schemeClr val="bg1"/>
                      </a:solidFill>
                      <a:latin typeface="+mn-lt"/>
                      <a:ea typeface="+mn-ea"/>
                      <a:cs typeface="Times New Roman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A06-4D40-8C12-C2002721E8BA}"/>
                </c:ext>
              </c:extLst>
            </c:dLbl>
            <c:dLbl>
              <c:idx val="1"/>
              <c:layout>
                <c:manualLayout>
                  <c:x val="-4.9159120310478657E-2"/>
                  <c:y val="-6.1667834618079891E-2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 spc="11">
                      <a:solidFill>
                        <a:schemeClr val="bg1"/>
                      </a:solidFill>
                      <a:latin typeface="+mn-lt"/>
                      <a:ea typeface="+mn-ea"/>
                      <a:cs typeface="Times New Roman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A06-4D40-8C12-C2002721E8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75.239999999999995</c:v>
                </c:pt>
                <c:pt idx="1">
                  <c:v>20.07</c:v>
                </c:pt>
                <c:pt idx="2">
                  <c:v>2.73</c:v>
                </c:pt>
                <c:pt idx="3">
                  <c:v>1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A06-4D40-8C12-C2002721E8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26120660599932E-2"/>
          <c:y val="7.3033707865168537E-2"/>
          <c:w val="0.96494775867880012"/>
          <c:h val="0.853932584269662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95-431B-A770-07BD1B3D4EF1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.0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95-431B-A770-07BD1B3D4EF1}"/>
            </c:ext>
          </c:extLst>
        </c:ser>
        <c:ser>
          <c:idx val="2"/>
          <c:order val="2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.0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95-431B-A770-07BD1B3D4EF1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95-431B-A770-07BD1B3D4EF1}"/>
            </c:ext>
          </c:extLst>
        </c:ser>
        <c:ser>
          <c:idx val="4"/>
          <c:order val="4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395-431B-A770-07BD1B3D4EF1}"/>
            </c:ext>
          </c:extLst>
        </c:ser>
        <c:ser>
          <c:idx val="5"/>
          <c:order val="5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2.8089887640449437E-3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 spc="11">
                      <a:solidFill>
                        <a:schemeClr val="bg1"/>
                      </a:solidFill>
                      <a:latin typeface="+mn-lt"/>
                      <a:ea typeface="+mn-ea"/>
                      <a:cs typeface="Times New Roman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395-431B-A770-07BD1B3D4EF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10.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395-431B-A770-07BD1B3D4EF1}"/>
            </c:ext>
          </c:extLst>
        </c:ser>
        <c:ser>
          <c:idx val="6"/>
          <c:order val="6"/>
          <c:spPr>
            <a:solidFill>
              <a:schemeClr val="hlink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2.8089887640449437E-3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 spc="11">
                      <a:solidFill>
                        <a:schemeClr val="bg1"/>
                      </a:solidFill>
                      <a:latin typeface="+mn-lt"/>
                      <a:ea typeface="+mn-ea"/>
                      <a:cs typeface="Times New Roman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395-431B-A770-07BD1B3D4EF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15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395-431B-A770-07BD1B3D4EF1}"/>
            </c:ext>
          </c:extLst>
        </c:ser>
        <c:ser>
          <c:idx val="7"/>
          <c:order val="7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2.8089887640449437E-3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 spc="11">
                      <a:solidFill>
                        <a:schemeClr val="bg1"/>
                      </a:solidFill>
                      <a:latin typeface="+mn-lt"/>
                      <a:ea typeface="+mn-ea"/>
                      <a:cs typeface="Times New Roman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395-431B-A770-07BD1B3D4EF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54.5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95-431B-A770-07BD1B3D4E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724832"/>
        <c:axId val="1"/>
      </c:barChart>
      <c:catAx>
        <c:axId val="577248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300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7724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00E7A30D-1CEB-4B29-9482-83EA3E1D876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EFEABCB-3F17-4006-91E1-0F611002E2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72FC72-93F0-40C3-BFE7-85C01C1AE8C5}" type="datetimeFigureOut">
              <a:rPr lang="zh-CN" altLang="en-US" smtClean="0"/>
              <a:t>2022/11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5DFB2EE-E657-46A3-8654-85737B3032A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EF35363-1EF5-446C-B435-870EB8BD0E2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63DCE2-8978-4FA7-92BE-390F42AB46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461616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87F6A2-EFC0-4E72-AEC5-A150291C98F6}" type="datetimeFigureOut">
              <a:rPr lang="zh-CN" altLang="en-US" smtClean="0"/>
              <a:t>2022/11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007BF-063C-4AEB-9A33-811B147F7C7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35431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矩形 24">
            <a:extLst>
              <a:ext uri="{FF2B5EF4-FFF2-40B4-BE49-F238E27FC236}">
                <a16:creationId xmlns:a16="http://schemas.microsoft.com/office/drawing/2014/main" id="{F5DCDD51-9200-4634-B986-02360B5982B9}"/>
              </a:ext>
            </a:extLst>
          </p:cNvPr>
          <p:cNvSpPr/>
          <p:nvPr userDrawn="1"/>
        </p:nvSpPr>
        <p:spPr>
          <a:xfrm>
            <a:off x="0" y="1599740"/>
            <a:ext cx="12192000" cy="2678112"/>
          </a:xfrm>
          <a:prstGeom prst="rect">
            <a:avLst/>
          </a:prstGeom>
          <a:solidFill>
            <a:srgbClr val="C30F2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7200" dirty="0"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1CE2947C-C067-46EB-A708-8B2CE81052A7}"/>
              </a:ext>
            </a:extLst>
          </p:cNvPr>
          <p:cNvSpPr/>
          <p:nvPr userDrawn="1"/>
        </p:nvSpPr>
        <p:spPr>
          <a:xfrm>
            <a:off x="-892313" y="1236337"/>
            <a:ext cx="841513" cy="4903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BDE7D7B-DBAD-44C3-9679-2F84220232BD}"/>
              </a:ext>
            </a:extLst>
          </p:cNvPr>
          <p:cNvSpPr/>
          <p:nvPr userDrawn="1"/>
        </p:nvSpPr>
        <p:spPr>
          <a:xfrm>
            <a:off x="-892314" y="1726664"/>
            <a:ext cx="841513" cy="490327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285D6DF1-BDAE-4410-8A53-3C27E86E9DF8}"/>
              </a:ext>
            </a:extLst>
          </p:cNvPr>
          <p:cNvSpPr/>
          <p:nvPr userDrawn="1"/>
        </p:nvSpPr>
        <p:spPr>
          <a:xfrm>
            <a:off x="-892315" y="2311332"/>
            <a:ext cx="841513" cy="490327"/>
          </a:xfrm>
          <a:prstGeom prst="rect">
            <a:avLst/>
          </a:prstGeom>
          <a:solidFill>
            <a:srgbClr val="5858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2E788956-9A01-492D-87C3-3BE077724861}"/>
              </a:ext>
            </a:extLst>
          </p:cNvPr>
          <p:cNvSpPr/>
          <p:nvPr userDrawn="1"/>
        </p:nvSpPr>
        <p:spPr>
          <a:xfrm>
            <a:off x="-892316" y="3295548"/>
            <a:ext cx="841513" cy="490327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7139343A-148E-4ED9-AA4E-771888744B88}"/>
              </a:ext>
            </a:extLst>
          </p:cNvPr>
          <p:cNvSpPr/>
          <p:nvPr userDrawn="1"/>
        </p:nvSpPr>
        <p:spPr>
          <a:xfrm>
            <a:off x="-892316" y="2801659"/>
            <a:ext cx="842400" cy="489600"/>
          </a:xfrm>
          <a:prstGeom prst="rect">
            <a:avLst/>
          </a:prstGeom>
          <a:solidFill>
            <a:srgbClr val="9F9F9F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914EA950-2D93-42C6-95C1-D828AA64FD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4" t="34055" b="33026"/>
          <a:stretch/>
        </p:blipFill>
        <p:spPr>
          <a:xfrm>
            <a:off x="9822060" y="285733"/>
            <a:ext cx="2369940" cy="876141"/>
          </a:xfrm>
          <a:prstGeom prst="rect">
            <a:avLst/>
          </a:prstGeom>
        </p:spPr>
      </p:pic>
      <p:sp>
        <p:nvSpPr>
          <p:cNvPr id="30" name="文本占位符 29">
            <a:extLst>
              <a:ext uri="{FF2B5EF4-FFF2-40B4-BE49-F238E27FC236}">
                <a16:creationId xmlns:a16="http://schemas.microsoft.com/office/drawing/2014/main" id="{849B5A85-6DBE-4062-BC23-FDF4D22E5F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75642" y="1862599"/>
            <a:ext cx="9831388" cy="138779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lvl="0"/>
            <a:r>
              <a:rPr lang="zh-CN" altLang="en-US" dirty="0"/>
              <a:t>封面标题</a:t>
            </a:r>
          </a:p>
        </p:txBody>
      </p:sp>
      <p:sp>
        <p:nvSpPr>
          <p:cNvPr id="33" name="文本占位符 29">
            <a:extLst>
              <a:ext uri="{FF2B5EF4-FFF2-40B4-BE49-F238E27FC236}">
                <a16:creationId xmlns:a16="http://schemas.microsoft.com/office/drawing/2014/main" id="{D8C553A0-74A7-4D91-A18A-6357B97D28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5642" y="4540506"/>
            <a:ext cx="9831388" cy="59710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rgbClr val="C00000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lvl="0"/>
            <a:r>
              <a:rPr lang="zh-CN" altLang="en-US" dirty="0"/>
              <a:t>姓名</a:t>
            </a:r>
            <a:endParaRPr lang="en-US" altLang="zh-CN" dirty="0"/>
          </a:p>
        </p:txBody>
      </p:sp>
      <p:sp>
        <p:nvSpPr>
          <p:cNvPr id="34" name="文本占位符 29">
            <a:extLst>
              <a:ext uri="{FF2B5EF4-FFF2-40B4-BE49-F238E27FC236}">
                <a16:creationId xmlns:a16="http://schemas.microsoft.com/office/drawing/2014/main" id="{BDF8F3CD-0A68-4F87-BABB-0602CBBC66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75642" y="5233939"/>
            <a:ext cx="9831388" cy="59710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rgbClr val="C0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2017-02-11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2A673A1-BB5B-4AAA-A660-39C7FEBA5E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75642" y="3489622"/>
            <a:ext cx="9831387" cy="4413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lvl="0"/>
            <a:r>
              <a:rPr lang="zh-CN" altLang="en-US" dirty="0"/>
              <a:t>北京大学金融科技协会</a:t>
            </a:r>
          </a:p>
        </p:txBody>
      </p:sp>
      <p:sp>
        <p:nvSpPr>
          <p:cNvPr id="18" name="日期占位符 3">
            <a:extLst>
              <a:ext uri="{FF2B5EF4-FFF2-40B4-BE49-F238E27FC236}">
                <a16:creationId xmlns:a16="http://schemas.microsoft.com/office/drawing/2014/main" id="{2AC736D5-BFF5-486D-90DF-70375D5FE6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6" name="页脚占位符 4">
            <a:extLst>
              <a:ext uri="{FF2B5EF4-FFF2-40B4-BE49-F238E27FC236}">
                <a16:creationId xmlns:a16="http://schemas.microsoft.com/office/drawing/2014/main" id="{039B0A46-E3AA-4305-9084-C1AAA51F25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27" name="灯片编号占位符 5">
            <a:extLst>
              <a:ext uri="{FF2B5EF4-FFF2-40B4-BE49-F238E27FC236}">
                <a16:creationId xmlns:a16="http://schemas.microsoft.com/office/drawing/2014/main" id="{B3029FA7-69B5-4762-A95C-2B1C361E2C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19772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31821E3-FA6C-45A5-B56E-138B4A6C6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C3609DF-DC3C-4601-B998-FD34FD0D2C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8C32C45-E0E1-469C-ABF3-AAC721585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14FC59F-887C-4592-AFF5-6B3C3B2334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E3DFE2C-D11C-4079-B0C9-07D3E176B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055EB66-324A-46DF-AC67-F8DED1ABE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7767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654F2C-56D1-4F9E-B52B-6E020EED2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48065CD2-612C-40F0-AA3F-1A99FCC4B0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C77D3D8-4DB5-4763-9323-4B41059A43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0DDB6A4-7134-45A0-8331-42191AB4DE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89B4BF6-5B61-4398-96C4-22E8720C71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EF18F41-FFA6-41BC-8A55-DE11E4996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6212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F320BE-2D0F-4AF6-BC61-2DC95CDE6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5F452BF-D344-44EB-AD67-72CC4877C1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47D504B-677B-43AB-9288-1232A5CEBC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89D05D3-FBD6-40FB-B220-28F96E56A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566BDC8-0905-4697-A5F1-4223DF158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37499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42957138-600A-440A-A9E9-26FD9EC25B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967286D8-AE5A-442A-B9B2-A9C30DA134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F596427-924E-4CAB-9282-896086F3F2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86A8C1B-DF84-4930-94AB-C64FA8AA3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561CD71-286C-442A-A2EA-9008824C6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5138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>
            <a:extLst>
              <a:ext uri="{FF2B5EF4-FFF2-40B4-BE49-F238E27FC236}">
                <a16:creationId xmlns:a16="http://schemas.microsoft.com/office/drawing/2014/main" id="{1CE2947C-C067-46EB-A708-8B2CE81052A7}"/>
              </a:ext>
            </a:extLst>
          </p:cNvPr>
          <p:cNvSpPr/>
          <p:nvPr userDrawn="1"/>
        </p:nvSpPr>
        <p:spPr>
          <a:xfrm>
            <a:off x="-892313" y="1236337"/>
            <a:ext cx="841513" cy="4903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BDE7D7B-DBAD-44C3-9679-2F84220232BD}"/>
              </a:ext>
            </a:extLst>
          </p:cNvPr>
          <p:cNvSpPr/>
          <p:nvPr userDrawn="1"/>
        </p:nvSpPr>
        <p:spPr>
          <a:xfrm>
            <a:off x="-892314" y="1726664"/>
            <a:ext cx="841513" cy="490327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285D6DF1-BDAE-4410-8A53-3C27E86E9DF8}"/>
              </a:ext>
            </a:extLst>
          </p:cNvPr>
          <p:cNvSpPr/>
          <p:nvPr userDrawn="1"/>
        </p:nvSpPr>
        <p:spPr>
          <a:xfrm>
            <a:off x="-892315" y="2311332"/>
            <a:ext cx="841513" cy="490327"/>
          </a:xfrm>
          <a:prstGeom prst="rect">
            <a:avLst/>
          </a:prstGeom>
          <a:solidFill>
            <a:srgbClr val="5858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2E788956-9A01-492D-87C3-3BE077724861}"/>
              </a:ext>
            </a:extLst>
          </p:cNvPr>
          <p:cNvSpPr/>
          <p:nvPr userDrawn="1"/>
        </p:nvSpPr>
        <p:spPr>
          <a:xfrm>
            <a:off x="-892316" y="3295548"/>
            <a:ext cx="841513" cy="490327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7139343A-148E-4ED9-AA4E-771888744B88}"/>
              </a:ext>
            </a:extLst>
          </p:cNvPr>
          <p:cNvSpPr/>
          <p:nvPr userDrawn="1"/>
        </p:nvSpPr>
        <p:spPr>
          <a:xfrm>
            <a:off x="-892316" y="2801659"/>
            <a:ext cx="842400" cy="489600"/>
          </a:xfrm>
          <a:prstGeom prst="rect">
            <a:avLst/>
          </a:prstGeom>
          <a:solidFill>
            <a:srgbClr val="9F9F9F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914EA950-2D93-42C6-95C1-D828AA64FD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4" t="34055" b="33026"/>
          <a:stretch/>
        </p:blipFill>
        <p:spPr>
          <a:xfrm>
            <a:off x="9822060" y="285733"/>
            <a:ext cx="2369940" cy="876141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730814D2-F566-4EB1-81C8-81FAD97CE6C5}"/>
              </a:ext>
            </a:extLst>
          </p:cNvPr>
          <p:cNvSpPr txBox="1"/>
          <p:nvPr userDrawn="1"/>
        </p:nvSpPr>
        <p:spPr>
          <a:xfrm>
            <a:off x="386500" y="285733"/>
            <a:ext cx="34784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solidFill>
                  <a:srgbClr val="C0000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目录</a:t>
            </a:r>
            <a:r>
              <a:rPr lang="en-US" altLang="zh-CN" sz="3200" dirty="0">
                <a:solidFill>
                  <a:srgbClr val="C0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ontents</a:t>
            </a:r>
            <a:endParaRPr lang="zh-CN" altLang="en-US" sz="4000" dirty="0">
              <a:solidFill>
                <a:srgbClr val="C00000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92F85EFB-CFF3-4A9D-9E7D-21BAA8D2D308}"/>
              </a:ext>
            </a:extLst>
          </p:cNvPr>
          <p:cNvCxnSpPr/>
          <p:nvPr userDrawn="1"/>
        </p:nvCxnSpPr>
        <p:spPr>
          <a:xfrm>
            <a:off x="509047" y="993619"/>
            <a:ext cx="9313013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21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>
            <a:extLst>
              <a:ext uri="{FF2B5EF4-FFF2-40B4-BE49-F238E27FC236}">
                <a16:creationId xmlns:a16="http://schemas.microsoft.com/office/drawing/2014/main" id="{1CE2947C-C067-46EB-A708-8B2CE81052A7}"/>
              </a:ext>
            </a:extLst>
          </p:cNvPr>
          <p:cNvSpPr/>
          <p:nvPr userDrawn="1"/>
        </p:nvSpPr>
        <p:spPr>
          <a:xfrm>
            <a:off x="-892313" y="1236337"/>
            <a:ext cx="841513" cy="4903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BDE7D7B-DBAD-44C3-9679-2F84220232BD}"/>
              </a:ext>
            </a:extLst>
          </p:cNvPr>
          <p:cNvSpPr/>
          <p:nvPr userDrawn="1"/>
        </p:nvSpPr>
        <p:spPr>
          <a:xfrm>
            <a:off x="-892314" y="1726664"/>
            <a:ext cx="841513" cy="490327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285D6DF1-BDAE-4410-8A53-3C27E86E9DF8}"/>
              </a:ext>
            </a:extLst>
          </p:cNvPr>
          <p:cNvSpPr/>
          <p:nvPr userDrawn="1"/>
        </p:nvSpPr>
        <p:spPr>
          <a:xfrm>
            <a:off x="-892315" y="2311332"/>
            <a:ext cx="841513" cy="490327"/>
          </a:xfrm>
          <a:prstGeom prst="rect">
            <a:avLst/>
          </a:prstGeom>
          <a:solidFill>
            <a:srgbClr val="5858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2E788956-9A01-492D-87C3-3BE077724861}"/>
              </a:ext>
            </a:extLst>
          </p:cNvPr>
          <p:cNvSpPr/>
          <p:nvPr userDrawn="1"/>
        </p:nvSpPr>
        <p:spPr>
          <a:xfrm>
            <a:off x="-892316" y="3295548"/>
            <a:ext cx="841513" cy="490327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7139343A-148E-4ED9-AA4E-771888744B88}"/>
              </a:ext>
            </a:extLst>
          </p:cNvPr>
          <p:cNvSpPr/>
          <p:nvPr userDrawn="1"/>
        </p:nvSpPr>
        <p:spPr>
          <a:xfrm>
            <a:off x="-892316" y="2801659"/>
            <a:ext cx="842400" cy="489600"/>
          </a:xfrm>
          <a:prstGeom prst="rect">
            <a:avLst/>
          </a:prstGeom>
          <a:solidFill>
            <a:srgbClr val="9F9F9F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914EA950-2D93-42C6-95C1-D828AA64FD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4" t="34055" b="33026"/>
          <a:stretch/>
        </p:blipFill>
        <p:spPr>
          <a:xfrm>
            <a:off x="9822060" y="285733"/>
            <a:ext cx="2369940" cy="876141"/>
          </a:xfrm>
          <a:prstGeom prst="rect">
            <a:avLst/>
          </a:prstGeom>
        </p:spPr>
      </p:pic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91417D6-89C4-456F-B60A-F82B7579D9AE}"/>
              </a:ext>
            </a:extLst>
          </p:cNvPr>
          <p:cNvCxnSpPr/>
          <p:nvPr userDrawn="1"/>
        </p:nvCxnSpPr>
        <p:spPr>
          <a:xfrm>
            <a:off x="509047" y="993619"/>
            <a:ext cx="9313013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70474EA-09F5-444E-BD14-679515A747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404813"/>
            <a:ext cx="1979612" cy="490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1.1 </a:t>
            </a:r>
            <a:r>
              <a:rPr lang="zh-CN" altLang="en-US" dirty="0"/>
              <a:t>标题</a:t>
            </a:r>
          </a:p>
        </p:txBody>
      </p:sp>
      <p:sp>
        <p:nvSpPr>
          <p:cNvPr id="29" name="灯片编号占位符 5">
            <a:extLst>
              <a:ext uri="{FF2B5EF4-FFF2-40B4-BE49-F238E27FC236}">
                <a16:creationId xmlns:a16="http://schemas.microsoft.com/office/drawing/2014/main" id="{230513EE-E786-4EA9-8338-15E91BA442A3}"/>
              </a:ext>
            </a:extLst>
          </p:cNvPr>
          <p:cNvSpPr txBox="1">
            <a:spLocks/>
          </p:cNvSpPr>
          <p:nvPr userDrawn="1"/>
        </p:nvSpPr>
        <p:spPr>
          <a:xfrm>
            <a:off x="11542500" y="6376086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D1CC713-0AB8-4262-BFF0-45D1486B045E}" type="slidenum">
              <a:rPr lang="zh-CN" altLang="en-US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‹#›</a:t>
            </a:fld>
            <a:endParaRPr lang="zh-CN" alt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B5C77385-50AB-4E35-B3AA-589099EFA882}"/>
              </a:ext>
            </a:extLst>
          </p:cNvPr>
          <p:cNvCxnSpPr>
            <a:cxnSpLocks/>
          </p:cNvCxnSpPr>
          <p:nvPr userDrawn="1"/>
        </p:nvCxnSpPr>
        <p:spPr>
          <a:xfrm>
            <a:off x="509047" y="6356350"/>
            <a:ext cx="10652289" cy="2738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0403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>
            <a:extLst>
              <a:ext uri="{FF2B5EF4-FFF2-40B4-BE49-F238E27FC236}">
                <a16:creationId xmlns:a16="http://schemas.microsoft.com/office/drawing/2014/main" id="{1CE2947C-C067-46EB-A708-8B2CE81052A7}"/>
              </a:ext>
            </a:extLst>
          </p:cNvPr>
          <p:cNvSpPr/>
          <p:nvPr userDrawn="1"/>
        </p:nvSpPr>
        <p:spPr>
          <a:xfrm>
            <a:off x="-892313" y="1236337"/>
            <a:ext cx="841513" cy="4903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BDE7D7B-DBAD-44C3-9679-2F84220232BD}"/>
              </a:ext>
            </a:extLst>
          </p:cNvPr>
          <p:cNvSpPr/>
          <p:nvPr userDrawn="1"/>
        </p:nvSpPr>
        <p:spPr>
          <a:xfrm>
            <a:off x="-892314" y="1726664"/>
            <a:ext cx="841513" cy="490327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285D6DF1-BDAE-4410-8A53-3C27E86E9DF8}"/>
              </a:ext>
            </a:extLst>
          </p:cNvPr>
          <p:cNvSpPr/>
          <p:nvPr userDrawn="1"/>
        </p:nvSpPr>
        <p:spPr>
          <a:xfrm>
            <a:off x="-892315" y="2311332"/>
            <a:ext cx="841513" cy="490327"/>
          </a:xfrm>
          <a:prstGeom prst="rect">
            <a:avLst/>
          </a:prstGeom>
          <a:solidFill>
            <a:srgbClr val="5858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2E788956-9A01-492D-87C3-3BE077724861}"/>
              </a:ext>
            </a:extLst>
          </p:cNvPr>
          <p:cNvSpPr/>
          <p:nvPr userDrawn="1"/>
        </p:nvSpPr>
        <p:spPr>
          <a:xfrm>
            <a:off x="-892316" y="3295548"/>
            <a:ext cx="841513" cy="490327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7139343A-148E-4ED9-AA4E-771888744B88}"/>
              </a:ext>
            </a:extLst>
          </p:cNvPr>
          <p:cNvSpPr/>
          <p:nvPr userDrawn="1"/>
        </p:nvSpPr>
        <p:spPr>
          <a:xfrm>
            <a:off x="-892316" y="2801659"/>
            <a:ext cx="842400" cy="489600"/>
          </a:xfrm>
          <a:prstGeom prst="rect">
            <a:avLst/>
          </a:prstGeom>
          <a:solidFill>
            <a:srgbClr val="9F9F9F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914EA950-2D93-42C6-95C1-D828AA64FD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4" t="34055" b="33026"/>
          <a:stretch/>
        </p:blipFill>
        <p:spPr>
          <a:xfrm>
            <a:off x="9822060" y="285733"/>
            <a:ext cx="2369940" cy="876141"/>
          </a:xfrm>
          <a:prstGeom prst="rect">
            <a:avLst/>
          </a:prstGeom>
        </p:spPr>
      </p:pic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91417D6-89C4-456F-B60A-F82B7579D9AE}"/>
              </a:ext>
            </a:extLst>
          </p:cNvPr>
          <p:cNvCxnSpPr/>
          <p:nvPr userDrawn="1"/>
        </p:nvCxnSpPr>
        <p:spPr>
          <a:xfrm>
            <a:off x="509047" y="993619"/>
            <a:ext cx="9313013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70474EA-09F5-444E-BD14-679515A747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404813"/>
            <a:ext cx="1979612" cy="490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altLang="zh-CN" dirty="0"/>
              <a:t>1.1 </a:t>
            </a:r>
            <a:r>
              <a:rPr lang="zh-CN" altLang="en-US" dirty="0"/>
              <a:t>标题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D2F743EA-80BC-47B0-A35D-76F79D20D3CA}"/>
              </a:ext>
            </a:extLst>
          </p:cNvPr>
          <p:cNvGrpSpPr/>
          <p:nvPr userDrawn="1"/>
        </p:nvGrpSpPr>
        <p:grpSpPr>
          <a:xfrm>
            <a:off x="11161336" y="6383731"/>
            <a:ext cx="952108" cy="377072"/>
            <a:chOff x="4283011" y="2455653"/>
            <a:chExt cx="1721863" cy="692896"/>
          </a:xfrm>
        </p:grpSpPr>
        <p:sp>
          <p:nvSpPr>
            <p:cNvPr id="9" name="箭头: 五边形 8">
              <a:extLst>
                <a:ext uri="{FF2B5EF4-FFF2-40B4-BE49-F238E27FC236}">
                  <a16:creationId xmlns:a16="http://schemas.microsoft.com/office/drawing/2014/main" id="{D755D1BA-D205-462C-A082-3B71A9EDCE95}"/>
                </a:ext>
              </a:extLst>
            </p:cNvPr>
            <p:cNvSpPr/>
            <p:nvPr userDrawn="1"/>
          </p:nvSpPr>
          <p:spPr>
            <a:xfrm>
              <a:off x="4628560" y="2455653"/>
              <a:ext cx="1376314" cy="692891"/>
            </a:xfrm>
            <a:prstGeom prst="homePlat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F8F4319F-EF4D-4EEB-BA04-0A0C9741332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41" t="36046" r="59597" b="36049"/>
            <a:stretch/>
          </p:blipFill>
          <p:spPr>
            <a:xfrm>
              <a:off x="4283011" y="2455653"/>
              <a:ext cx="689325" cy="692896"/>
            </a:xfrm>
            <a:custGeom>
              <a:avLst/>
              <a:gdLst>
                <a:gd name="connsiteX0" fmla="*/ 1098223 w 2196446"/>
                <a:gd name="connsiteY0" fmla="*/ 0 h 2207826"/>
                <a:gd name="connsiteX1" fmla="*/ 2196446 w 2196446"/>
                <a:gd name="connsiteY1" fmla="*/ 1103913 h 2207826"/>
                <a:gd name="connsiteX2" fmla="*/ 1098223 w 2196446"/>
                <a:gd name="connsiteY2" fmla="*/ 2207826 h 2207826"/>
                <a:gd name="connsiteX3" fmla="*/ 0 w 2196446"/>
                <a:gd name="connsiteY3" fmla="*/ 1103913 h 2207826"/>
                <a:gd name="connsiteX4" fmla="*/ 1098223 w 2196446"/>
                <a:gd name="connsiteY4" fmla="*/ 0 h 220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6446" h="2207826">
                  <a:moveTo>
                    <a:pt x="1098223" y="0"/>
                  </a:moveTo>
                  <a:cubicBezTo>
                    <a:pt x="1704755" y="0"/>
                    <a:pt x="2196446" y="494239"/>
                    <a:pt x="2196446" y="1103913"/>
                  </a:cubicBezTo>
                  <a:cubicBezTo>
                    <a:pt x="2196446" y="1713587"/>
                    <a:pt x="1704755" y="2207826"/>
                    <a:pt x="1098223" y="2207826"/>
                  </a:cubicBezTo>
                  <a:cubicBezTo>
                    <a:pt x="491691" y="2207826"/>
                    <a:pt x="0" y="1713587"/>
                    <a:pt x="0" y="1103913"/>
                  </a:cubicBezTo>
                  <a:cubicBezTo>
                    <a:pt x="0" y="494239"/>
                    <a:pt x="491691" y="0"/>
                    <a:pt x="1098223" y="0"/>
                  </a:cubicBezTo>
                  <a:close/>
                </a:path>
              </a:pathLst>
            </a:custGeom>
          </p:spPr>
        </p:pic>
      </p:grpSp>
      <p:sp>
        <p:nvSpPr>
          <p:cNvPr id="29" name="灯片编号占位符 5">
            <a:extLst>
              <a:ext uri="{FF2B5EF4-FFF2-40B4-BE49-F238E27FC236}">
                <a16:creationId xmlns:a16="http://schemas.microsoft.com/office/drawing/2014/main" id="{230513EE-E786-4EA9-8338-15E91BA442A3}"/>
              </a:ext>
            </a:extLst>
          </p:cNvPr>
          <p:cNvSpPr txBox="1">
            <a:spLocks/>
          </p:cNvSpPr>
          <p:nvPr userDrawn="1"/>
        </p:nvSpPr>
        <p:spPr>
          <a:xfrm>
            <a:off x="11542500" y="6376086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D1CC713-0AB8-4262-BFF0-45D1486B045E}" type="slidenum">
              <a:rPr lang="zh-CN" altLang="en-US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‹#›</a:t>
            </a:fld>
            <a:endParaRPr lang="zh-CN" altLang="en-US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B5C77385-50AB-4E35-B3AA-589099EFA882}"/>
              </a:ext>
            </a:extLst>
          </p:cNvPr>
          <p:cNvCxnSpPr>
            <a:cxnSpLocks/>
          </p:cNvCxnSpPr>
          <p:nvPr userDrawn="1"/>
        </p:nvCxnSpPr>
        <p:spPr>
          <a:xfrm>
            <a:off x="509047" y="6356350"/>
            <a:ext cx="10652289" cy="2738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占位符 2">
            <a:extLst>
              <a:ext uri="{FF2B5EF4-FFF2-40B4-BE49-F238E27FC236}">
                <a16:creationId xmlns:a16="http://schemas.microsoft.com/office/drawing/2014/main" id="{869F691E-5B89-4FA3-8C16-4EABEAE002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7273" y="6421739"/>
            <a:ext cx="1992980" cy="301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pPr lvl="0"/>
            <a:r>
              <a:rPr lang="zh-CN" altLang="en-US" dirty="0"/>
              <a:t>资料来源：</a:t>
            </a:r>
          </a:p>
        </p:txBody>
      </p:sp>
    </p:spTree>
    <p:extLst>
      <p:ext uri="{BB962C8B-B14F-4D97-AF65-F5344CB8AC3E}">
        <p14:creationId xmlns:p14="http://schemas.microsoft.com/office/powerpoint/2010/main" val="1493717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144225-FAC5-4347-AEDE-0BFD8C463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E50843A-3D5D-4262-BB9E-570A68CE6C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65BB09E-237E-4508-893B-EFF5E4639A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D9E5608-5F33-4F34-82AF-0FA14D7CB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5F3C73E-5889-4896-BFD3-D953B293C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97052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5967871-FECC-4E15-ADDD-A44BE9064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1A5FCC0-82D9-4146-96C3-9983DD9E3C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30C360C-150F-42FD-BD2A-3AF529B1C4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CB26605-845B-4677-BD37-90954273DE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11ED5E1-6B6D-4ED8-9A76-4AB87E2A7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30E242B1-547C-4C1E-8692-2B19F3191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8415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B37885D-3557-4387-B0D5-F2173AC88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6FAA048-BFB0-4227-BEE0-DCAC3B6526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140959C-C151-473B-B357-CF10B57EFA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B528C079-5BCD-48F2-8277-F91FEB10BE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54D333C-71F7-4347-B643-5585385F893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D091968-0696-42D8-B466-EAE1394C95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E20057EA-5299-48F0-AB76-40787F3BD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DEB00CAD-DDA1-4C09-A152-77EAFE9F3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17629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D80933-49F8-4CDF-AD68-1936D4609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7C0BAEB-845F-4186-95CE-4F4A025333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ECB74C2-7D6E-48FE-BD61-3160848FE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FEDFE66-A201-4C73-B12E-C24E8D975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73212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23CA0CE-19F2-403D-982B-67F27CC58B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FD4E238-4C6A-4A1C-A010-7C9CB4D69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BDEB0AD-0919-4B52-A0FC-D91B6F59C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1627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3">
            <a:extLst>
              <a:ext uri="{FF2B5EF4-FFF2-40B4-BE49-F238E27FC236}">
                <a16:creationId xmlns:a16="http://schemas.microsoft.com/office/drawing/2014/main" id="{82BE29EC-20CC-42EB-9E6C-C210A262E4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8" name="页脚占位符 4">
            <a:extLst>
              <a:ext uri="{FF2B5EF4-FFF2-40B4-BE49-F238E27FC236}">
                <a16:creationId xmlns:a16="http://schemas.microsoft.com/office/drawing/2014/main" id="{D6F2FDFE-8BE5-473A-AC11-86C9B9F99E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9" name="灯片编号占位符 5">
            <a:extLst>
              <a:ext uri="{FF2B5EF4-FFF2-40B4-BE49-F238E27FC236}">
                <a16:creationId xmlns:a16="http://schemas.microsoft.com/office/drawing/2014/main" id="{4B124609-5105-4A0E-BD1F-E46D563CD8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D1CC713-0AB8-4262-BFF0-45D1486B045E}" type="slidenum">
              <a:rPr lang="zh-CN" altLang="en-US" smtClean="0"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8107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3" r:id="rId3"/>
    <p:sldLayoutId id="2147483662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chart" Target="../charts/chart1.xml"/><Relationship Id="rId3" Type="http://schemas.openxmlformats.org/officeDocument/2006/relationships/tags" Target="../tags/tag1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2F2D1AA7-9818-43FE-8F72-5B26971F8A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5BD1C00-12AE-4905-A5F9-D8CA74BDEB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4A5B48B-FD03-4558-BDB2-6115281413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2F305A6-09D3-4FF9-8F74-40D1473D41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zh-CN" altLang="en-US" dirty="0"/>
              <a:t>北京大学金融科技协会</a:t>
            </a:r>
          </a:p>
        </p:txBody>
      </p:sp>
    </p:spTree>
    <p:extLst>
      <p:ext uri="{BB962C8B-B14F-4D97-AF65-F5344CB8AC3E}">
        <p14:creationId xmlns:p14="http://schemas.microsoft.com/office/powerpoint/2010/main" val="1381630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>
            <a:extLst>
              <a:ext uri="{FF2B5EF4-FFF2-40B4-BE49-F238E27FC236}">
                <a16:creationId xmlns:a16="http://schemas.microsoft.com/office/drawing/2014/main" id="{5225EFF7-D3CC-44B3-AFBD-6BE405AB5DDE}"/>
              </a:ext>
            </a:extLst>
          </p:cNvPr>
          <p:cNvGrpSpPr/>
          <p:nvPr/>
        </p:nvGrpSpPr>
        <p:grpSpPr>
          <a:xfrm>
            <a:off x="1732486" y="1850036"/>
            <a:ext cx="8485921" cy="536575"/>
            <a:chOff x="1732486" y="1850036"/>
            <a:chExt cx="8485921" cy="536575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id="{8F47D4F0-F908-4B2B-B0C0-E642D7931700}"/>
                </a:ext>
              </a:extLst>
            </p:cNvPr>
            <p:cNvSpPr/>
            <p:nvPr/>
          </p:nvSpPr>
          <p:spPr>
            <a:xfrm>
              <a:off x="1732486" y="1850036"/>
              <a:ext cx="630237" cy="536575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1</a:t>
              </a:r>
              <a:endParaRPr lang="zh-CN" alt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44DF3BD-361F-4F18-A165-9DC6D80A783A}"/>
                </a:ext>
              </a:extLst>
            </p:cNvPr>
            <p:cNvGrpSpPr/>
            <p:nvPr/>
          </p:nvGrpSpPr>
          <p:grpSpPr>
            <a:xfrm>
              <a:off x="2585926" y="1850036"/>
              <a:ext cx="7632481" cy="536574"/>
              <a:chOff x="2545286" y="2690194"/>
              <a:chExt cx="7632481" cy="468704"/>
            </a:xfrm>
          </p:grpSpPr>
          <p:sp>
            <p:nvSpPr>
              <p:cNvPr id="4" name="文本框 37">
                <a:extLst>
                  <a:ext uri="{FF2B5EF4-FFF2-40B4-BE49-F238E27FC236}">
                    <a16:creationId xmlns:a16="http://schemas.microsoft.com/office/drawing/2014/main" id="{A77D14FD-BB08-49B5-9168-A4EB481C08E9}"/>
                  </a:ext>
                </a:extLst>
              </p:cNvPr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2545286" y="2690194"/>
                <a:ext cx="6320117" cy="468000"/>
              </a:xfrm>
              <a:custGeom>
                <a:avLst/>
                <a:gdLst>
                  <a:gd name="connsiteX0" fmla="*/ 0 w 2773194"/>
                  <a:gd name="connsiteY0" fmla="*/ 0 h 253350"/>
                  <a:gd name="connsiteX1" fmla="*/ 2508325 w 2773194"/>
                  <a:gd name="connsiteY1" fmla="*/ 0 h 253350"/>
                  <a:gd name="connsiteX2" fmla="*/ 2773194 w 2773194"/>
                  <a:gd name="connsiteY2" fmla="*/ 253350 h 253350"/>
                  <a:gd name="connsiteX3" fmla="*/ 0 w 2773194"/>
                  <a:gd name="connsiteY3" fmla="*/ 253350 h 25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73194" h="253350">
                    <a:moveTo>
                      <a:pt x="0" y="0"/>
                    </a:moveTo>
                    <a:lnTo>
                      <a:pt x="2508325" y="0"/>
                    </a:lnTo>
                    <a:lnTo>
                      <a:pt x="2773194" y="253350"/>
                    </a:lnTo>
                    <a:lnTo>
                      <a:pt x="0" y="25335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lIns="0" tIns="0" bIns="0" anchor="ctr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anose="02020503050405090304" pitchFamily="18" charset="0"/>
                    <a:ea typeface="楷体" panose="02010609060101010101" pitchFamily="49" charset="-122"/>
                    <a:cs typeface="Times New Roman" panose="02020503050405090304" pitchFamily="18" charset="0"/>
                  </a:rPr>
                  <a:t> </a:t>
                </a:r>
                <a:r>
                  <a:rPr lang="zh-CN" altLang="en-US" sz="2800" b="1" kern="0" dirty="0">
                    <a:solidFill>
                      <a:srgbClr val="FFFFFF"/>
                    </a:solidFill>
                    <a:latin typeface="Times New Roman" panose="02020503050405090304" pitchFamily="18" charset="0"/>
                    <a:ea typeface="楷体" panose="02010609060101010101" pitchFamily="49" charset="-122"/>
                    <a:cs typeface="Times New Roman" panose="02020503050405090304" pitchFamily="18" charset="0"/>
                  </a:rPr>
                  <a:t>标题</a:t>
                </a:r>
                <a:endParaRPr kumimoji="0" lang="zh-CN" alt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503050405090304" pitchFamily="18" charset="0"/>
                  <a:ea typeface="楷体" panose="02010609060101010101" pitchFamily="49" charset="-122"/>
                  <a:cs typeface="Times New Roman" panose="02020503050405090304" pitchFamily="18" charset="0"/>
                </a:endParaRPr>
              </a:p>
            </p:txBody>
          </p:sp>
          <p:cxnSp>
            <p:nvCxnSpPr>
              <p:cNvPr id="5" name="直接连接符 38">
                <a:extLst>
                  <a:ext uri="{FF2B5EF4-FFF2-40B4-BE49-F238E27FC236}">
                    <a16:creationId xmlns:a16="http://schemas.microsoft.com/office/drawing/2014/main" id="{7D9D74CF-47C5-4B3D-9C06-53DF58FAF17E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12"/>
                </p:custDataLst>
              </p:nvPr>
            </p:nvCxnSpPr>
            <p:spPr bwMode="auto">
              <a:xfrm>
                <a:off x="8516376" y="3158898"/>
                <a:ext cx="1661391" cy="0"/>
              </a:xfrm>
              <a:prstGeom prst="line">
                <a:avLst/>
              </a:prstGeom>
              <a:noFill/>
              <a:ln w="6350" algn="ctr">
                <a:solidFill>
                  <a:schemeClr val="accent1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7" name="文本框 36">
              <a:extLst>
                <a:ext uri="{FF2B5EF4-FFF2-40B4-BE49-F238E27FC236}">
                  <a16:creationId xmlns:a16="http://schemas.microsoft.com/office/drawing/2014/main" id="{E18A78F1-6B2B-4457-AF4F-564C9680A531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9014132" y="1949844"/>
              <a:ext cx="1183883" cy="290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noAutofit/>
            </a:bodyPr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panose="020B060402020209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503050405090304" pitchFamily="18" charset="0"/>
                  <a:ea typeface="楷体" panose="02010609060101010101" pitchFamily="49" charset="-122"/>
                  <a:cs typeface="Times New Roman" panose="02020503050405090304" pitchFamily="18" charset="0"/>
                </a:rPr>
                <a:t>04-15</a:t>
              </a: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endParaRPr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F9DBCA95-7499-4F05-AC19-72E734EFC08F}"/>
              </a:ext>
            </a:extLst>
          </p:cNvPr>
          <p:cNvGrpSpPr/>
          <p:nvPr/>
        </p:nvGrpSpPr>
        <p:grpSpPr>
          <a:xfrm>
            <a:off x="1732486" y="2730463"/>
            <a:ext cx="8485921" cy="536575"/>
            <a:chOff x="1732486" y="1850036"/>
            <a:chExt cx="8485921" cy="536575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163EE7FB-7A10-48D3-B031-9FD9FC01D6EC}"/>
                </a:ext>
              </a:extLst>
            </p:cNvPr>
            <p:cNvSpPr/>
            <p:nvPr/>
          </p:nvSpPr>
          <p:spPr>
            <a:xfrm>
              <a:off x="1732486" y="1850036"/>
              <a:ext cx="630237" cy="536575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2</a:t>
              </a:r>
              <a:endParaRPr lang="zh-CN" alt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8137B474-952D-4F85-B2BA-72FCF435CF52}"/>
                </a:ext>
              </a:extLst>
            </p:cNvPr>
            <p:cNvGrpSpPr/>
            <p:nvPr/>
          </p:nvGrpSpPr>
          <p:grpSpPr>
            <a:xfrm>
              <a:off x="2585926" y="1850036"/>
              <a:ext cx="7632481" cy="536574"/>
              <a:chOff x="2545286" y="2690194"/>
              <a:chExt cx="7632481" cy="468704"/>
            </a:xfrm>
          </p:grpSpPr>
          <p:sp>
            <p:nvSpPr>
              <p:cNvPr id="13" name="文本框 37">
                <a:extLst>
                  <a:ext uri="{FF2B5EF4-FFF2-40B4-BE49-F238E27FC236}">
                    <a16:creationId xmlns:a16="http://schemas.microsoft.com/office/drawing/2014/main" id="{30125A71-9552-4A40-9A15-A97B66D9E988}"/>
                  </a:ext>
                </a:extLst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2545286" y="2690194"/>
                <a:ext cx="6320117" cy="468000"/>
              </a:xfrm>
              <a:custGeom>
                <a:avLst/>
                <a:gdLst>
                  <a:gd name="connsiteX0" fmla="*/ 0 w 2773194"/>
                  <a:gd name="connsiteY0" fmla="*/ 0 h 253350"/>
                  <a:gd name="connsiteX1" fmla="*/ 2508325 w 2773194"/>
                  <a:gd name="connsiteY1" fmla="*/ 0 h 253350"/>
                  <a:gd name="connsiteX2" fmla="*/ 2773194 w 2773194"/>
                  <a:gd name="connsiteY2" fmla="*/ 253350 h 253350"/>
                  <a:gd name="connsiteX3" fmla="*/ 0 w 2773194"/>
                  <a:gd name="connsiteY3" fmla="*/ 253350 h 25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73194" h="253350">
                    <a:moveTo>
                      <a:pt x="0" y="0"/>
                    </a:moveTo>
                    <a:lnTo>
                      <a:pt x="2508325" y="0"/>
                    </a:lnTo>
                    <a:lnTo>
                      <a:pt x="2773194" y="253350"/>
                    </a:lnTo>
                    <a:lnTo>
                      <a:pt x="0" y="25335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lIns="0" tIns="0" bIns="0" anchor="ctr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anose="02020503050405090304" pitchFamily="18" charset="0"/>
                    <a:ea typeface="楷体" panose="02010609060101010101" pitchFamily="49" charset="-122"/>
                    <a:cs typeface="Times New Roman" panose="02020503050405090304" pitchFamily="18" charset="0"/>
                  </a:rPr>
                  <a:t>标题</a:t>
                </a:r>
              </a:p>
            </p:txBody>
          </p:sp>
          <p:cxnSp>
            <p:nvCxnSpPr>
              <p:cNvPr id="14" name="直接连接符 38">
                <a:extLst>
                  <a:ext uri="{FF2B5EF4-FFF2-40B4-BE49-F238E27FC236}">
                    <a16:creationId xmlns:a16="http://schemas.microsoft.com/office/drawing/2014/main" id="{7F7B2458-ACBE-43E3-B105-3C3CC6382A30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9"/>
                </p:custDataLst>
              </p:nvPr>
            </p:nvCxnSpPr>
            <p:spPr bwMode="auto">
              <a:xfrm>
                <a:off x="8516376" y="3158898"/>
                <a:ext cx="1661391" cy="0"/>
              </a:xfrm>
              <a:prstGeom prst="line">
                <a:avLst/>
              </a:prstGeom>
              <a:noFill/>
              <a:ln w="6350" algn="ctr">
                <a:solidFill>
                  <a:schemeClr val="accent1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12" name="文本框 36">
              <a:extLst>
                <a:ext uri="{FF2B5EF4-FFF2-40B4-BE49-F238E27FC236}">
                  <a16:creationId xmlns:a16="http://schemas.microsoft.com/office/drawing/2014/main" id="{55979FDB-6DFA-4D0A-9D12-40FFEB0E9D3F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9014132" y="1949844"/>
              <a:ext cx="1183883" cy="290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noAutofit/>
            </a:bodyPr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panose="020B060402020209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503050405090304" pitchFamily="18" charset="0"/>
                  <a:ea typeface="楷体" panose="02010609060101010101" pitchFamily="49" charset="-122"/>
                  <a:cs typeface="Times New Roman" panose="02020503050405090304" pitchFamily="18" charset="0"/>
                </a:rPr>
                <a:t>04-15</a:t>
              </a: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00ACDF6B-1BCC-4320-B82B-79DCC0C334C1}"/>
              </a:ext>
            </a:extLst>
          </p:cNvPr>
          <p:cNvGrpSpPr/>
          <p:nvPr/>
        </p:nvGrpSpPr>
        <p:grpSpPr>
          <a:xfrm>
            <a:off x="1732486" y="3598231"/>
            <a:ext cx="8485921" cy="536575"/>
            <a:chOff x="1732486" y="1850036"/>
            <a:chExt cx="8485921" cy="536575"/>
          </a:xfrm>
        </p:grpSpPr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32695716-B2AB-4185-8C42-0AC2D6CC40E9}"/>
                </a:ext>
              </a:extLst>
            </p:cNvPr>
            <p:cNvSpPr/>
            <p:nvPr/>
          </p:nvSpPr>
          <p:spPr>
            <a:xfrm>
              <a:off x="1732486" y="1850036"/>
              <a:ext cx="630237" cy="536575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3</a:t>
              </a:r>
              <a:endParaRPr lang="zh-CN" alt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12905365-E20E-4FF7-9D40-5EB73A20BA7C}"/>
                </a:ext>
              </a:extLst>
            </p:cNvPr>
            <p:cNvGrpSpPr/>
            <p:nvPr/>
          </p:nvGrpSpPr>
          <p:grpSpPr>
            <a:xfrm>
              <a:off x="2585926" y="1850036"/>
              <a:ext cx="7632481" cy="536574"/>
              <a:chOff x="2545286" y="2690194"/>
              <a:chExt cx="7632481" cy="468704"/>
            </a:xfrm>
          </p:grpSpPr>
          <p:sp>
            <p:nvSpPr>
              <p:cNvPr id="19" name="文本框 37">
                <a:extLst>
                  <a:ext uri="{FF2B5EF4-FFF2-40B4-BE49-F238E27FC236}">
                    <a16:creationId xmlns:a16="http://schemas.microsoft.com/office/drawing/2014/main" id="{85F71321-05CE-4E82-90B2-E3DA75584410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2545286" y="2690194"/>
                <a:ext cx="6320117" cy="468000"/>
              </a:xfrm>
              <a:custGeom>
                <a:avLst/>
                <a:gdLst>
                  <a:gd name="connsiteX0" fmla="*/ 0 w 2773194"/>
                  <a:gd name="connsiteY0" fmla="*/ 0 h 253350"/>
                  <a:gd name="connsiteX1" fmla="*/ 2508325 w 2773194"/>
                  <a:gd name="connsiteY1" fmla="*/ 0 h 253350"/>
                  <a:gd name="connsiteX2" fmla="*/ 2773194 w 2773194"/>
                  <a:gd name="connsiteY2" fmla="*/ 253350 h 253350"/>
                  <a:gd name="connsiteX3" fmla="*/ 0 w 2773194"/>
                  <a:gd name="connsiteY3" fmla="*/ 253350 h 25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73194" h="253350">
                    <a:moveTo>
                      <a:pt x="0" y="0"/>
                    </a:moveTo>
                    <a:lnTo>
                      <a:pt x="2508325" y="0"/>
                    </a:lnTo>
                    <a:lnTo>
                      <a:pt x="2773194" y="253350"/>
                    </a:lnTo>
                    <a:lnTo>
                      <a:pt x="0" y="25335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lIns="0" tIns="0" bIns="0" anchor="ctr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800" b="1" kern="0" dirty="0">
                    <a:solidFill>
                      <a:srgbClr val="FFFFFF"/>
                    </a:solidFill>
                    <a:latin typeface="Times New Roman" panose="02020503050405090304" pitchFamily="18" charset="0"/>
                    <a:ea typeface="楷体" panose="02010609060101010101" pitchFamily="49" charset="-122"/>
                    <a:cs typeface="Times New Roman" panose="02020503050405090304" pitchFamily="18" charset="0"/>
                  </a:rPr>
                  <a:t>标</a:t>
                </a:r>
                <a:r>
                  <a:rPr kumimoji="0" lang="zh-CN" alt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anose="02020503050405090304" pitchFamily="18" charset="0"/>
                    <a:ea typeface="楷体" panose="02010609060101010101" pitchFamily="49" charset="-122"/>
                    <a:cs typeface="Times New Roman" panose="02020503050405090304" pitchFamily="18" charset="0"/>
                  </a:rPr>
                  <a:t>题</a:t>
                </a:r>
              </a:p>
            </p:txBody>
          </p:sp>
          <p:cxnSp>
            <p:nvCxnSpPr>
              <p:cNvPr id="20" name="直接连接符 38">
                <a:extLst>
                  <a:ext uri="{FF2B5EF4-FFF2-40B4-BE49-F238E27FC236}">
                    <a16:creationId xmlns:a16="http://schemas.microsoft.com/office/drawing/2014/main" id="{FE9FF704-6EC3-46D0-A833-F165FAAB98CB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6"/>
                </p:custDataLst>
              </p:nvPr>
            </p:nvCxnSpPr>
            <p:spPr bwMode="auto">
              <a:xfrm>
                <a:off x="8516376" y="3158898"/>
                <a:ext cx="1661391" cy="0"/>
              </a:xfrm>
              <a:prstGeom prst="line">
                <a:avLst/>
              </a:prstGeom>
              <a:noFill/>
              <a:ln w="6350" algn="ctr">
                <a:solidFill>
                  <a:schemeClr val="accent1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18" name="文本框 36">
              <a:extLst>
                <a:ext uri="{FF2B5EF4-FFF2-40B4-BE49-F238E27FC236}">
                  <a16:creationId xmlns:a16="http://schemas.microsoft.com/office/drawing/2014/main" id="{D48DD481-F0C9-49C0-B6C0-F21FE55DA702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9014132" y="1949844"/>
              <a:ext cx="1183883" cy="290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noAutofit/>
            </a:bodyPr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panose="020B060402020209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503050405090304" pitchFamily="18" charset="0"/>
                  <a:ea typeface="楷体" panose="02010609060101010101" pitchFamily="49" charset="-122"/>
                  <a:cs typeface="Times New Roman" panose="02020503050405090304" pitchFamily="18" charset="0"/>
                </a:rPr>
                <a:t>04-15</a:t>
              </a: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endParaRP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22F14185-9AD9-4435-9FFA-124BE2577194}"/>
              </a:ext>
            </a:extLst>
          </p:cNvPr>
          <p:cNvGrpSpPr/>
          <p:nvPr/>
        </p:nvGrpSpPr>
        <p:grpSpPr>
          <a:xfrm>
            <a:off x="1732486" y="4472197"/>
            <a:ext cx="8485921" cy="536575"/>
            <a:chOff x="1732486" y="1850036"/>
            <a:chExt cx="8485921" cy="536575"/>
          </a:xfrm>
        </p:grpSpPr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E3CCDF9F-D39E-4C4A-AE7E-C644DE12EBCD}"/>
                </a:ext>
              </a:extLst>
            </p:cNvPr>
            <p:cNvSpPr/>
            <p:nvPr/>
          </p:nvSpPr>
          <p:spPr>
            <a:xfrm>
              <a:off x="1732486" y="1850036"/>
              <a:ext cx="630237" cy="536575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4</a:t>
              </a:r>
              <a:endParaRPr lang="zh-CN" alt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06926AE1-BC79-43D2-9AA9-29EC373A1A28}"/>
                </a:ext>
              </a:extLst>
            </p:cNvPr>
            <p:cNvGrpSpPr/>
            <p:nvPr/>
          </p:nvGrpSpPr>
          <p:grpSpPr>
            <a:xfrm>
              <a:off x="2585926" y="1850036"/>
              <a:ext cx="7632481" cy="536574"/>
              <a:chOff x="2545286" y="2690194"/>
              <a:chExt cx="7632481" cy="468704"/>
            </a:xfrm>
          </p:grpSpPr>
          <p:sp>
            <p:nvSpPr>
              <p:cNvPr id="25" name="文本框 37">
                <a:extLst>
                  <a:ext uri="{FF2B5EF4-FFF2-40B4-BE49-F238E27FC236}">
                    <a16:creationId xmlns:a16="http://schemas.microsoft.com/office/drawing/2014/main" id="{53C07773-66D3-4100-9478-00E3C470E263}"/>
                  </a:ext>
                </a:extLst>
              </p:cNvPr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2545286" y="2690194"/>
                <a:ext cx="6320117" cy="468000"/>
              </a:xfrm>
              <a:custGeom>
                <a:avLst/>
                <a:gdLst>
                  <a:gd name="connsiteX0" fmla="*/ 0 w 2773194"/>
                  <a:gd name="connsiteY0" fmla="*/ 0 h 253350"/>
                  <a:gd name="connsiteX1" fmla="*/ 2508325 w 2773194"/>
                  <a:gd name="connsiteY1" fmla="*/ 0 h 253350"/>
                  <a:gd name="connsiteX2" fmla="*/ 2773194 w 2773194"/>
                  <a:gd name="connsiteY2" fmla="*/ 253350 h 253350"/>
                  <a:gd name="connsiteX3" fmla="*/ 0 w 2773194"/>
                  <a:gd name="connsiteY3" fmla="*/ 253350 h 25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73194" h="253350">
                    <a:moveTo>
                      <a:pt x="0" y="0"/>
                    </a:moveTo>
                    <a:lnTo>
                      <a:pt x="2508325" y="0"/>
                    </a:lnTo>
                    <a:lnTo>
                      <a:pt x="2773194" y="253350"/>
                    </a:lnTo>
                    <a:lnTo>
                      <a:pt x="0" y="25335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lIns="0" tIns="0" bIns="0" anchor="ctr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anose="02020503050405090304" pitchFamily="18" charset="0"/>
                    <a:ea typeface="楷体" panose="02010609060101010101" pitchFamily="49" charset="-122"/>
                    <a:cs typeface="Times New Roman" panose="02020503050405090304" pitchFamily="18" charset="0"/>
                  </a:rPr>
                  <a:t>标题</a:t>
                </a:r>
              </a:p>
            </p:txBody>
          </p:sp>
          <p:cxnSp>
            <p:nvCxnSpPr>
              <p:cNvPr id="26" name="直接连接符 38">
                <a:extLst>
                  <a:ext uri="{FF2B5EF4-FFF2-40B4-BE49-F238E27FC236}">
                    <a16:creationId xmlns:a16="http://schemas.microsoft.com/office/drawing/2014/main" id="{B0D23A55-4CCC-4235-9F77-AEEED53DC63C}"/>
                  </a:ext>
                </a:extLst>
              </p:cNvPr>
              <p:cNvCxnSpPr>
                <a:cxnSpLocks noChangeShapeType="1"/>
              </p:cNvCxnSpPr>
              <p:nvPr>
                <p:custDataLst>
                  <p:tags r:id="rId3"/>
                </p:custDataLst>
              </p:nvPr>
            </p:nvCxnSpPr>
            <p:spPr bwMode="auto">
              <a:xfrm>
                <a:off x="8516376" y="3158898"/>
                <a:ext cx="1661391" cy="0"/>
              </a:xfrm>
              <a:prstGeom prst="line">
                <a:avLst/>
              </a:prstGeom>
              <a:noFill/>
              <a:ln w="6350" algn="ctr">
                <a:solidFill>
                  <a:schemeClr val="accent1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24" name="文本框 36">
              <a:extLst>
                <a:ext uri="{FF2B5EF4-FFF2-40B4-BE49-F238E27FC236}">
                  <a16:creationId xmlns:a16="http://schemas.microsoft.com/office/drawing/2014/main" id="{BA92EC83-5892-47A1-9DE6-4AA5D18FBEBE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9014132" y="1949844"/>
              <a:ext cx="1183883" cy="290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noAutofit/>
            </a:bodyPr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panose="020B060402020209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9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503050405090304" pitchFamily="18" charset="0"/>
                  <a:ea typeface="楷体" panose="02010609060101010101" pitchFamily="49" charset="-122"/>
                  <a:cs typeface="Times New Roman" panose="02020503050405090304" pitchFamily="18" charset="0"/>
                </a:rPr>
                <a:t>04-15</a:t>
              </a:r>
              <a:endPara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503050405090304" pitchFamily="18" charset="0"/>
                <a:ea typeface="楷体" panose="02010609060101010101" pitchFamily="49" charset="-122"/>
                <a:cs typeface="Times New Roman" panose="0202050305040509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0435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AC5C5C58-3ACD-4351-8943-F8B86A95E3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zh-CN" i="1" dirty="0"/>
              <a:t>01</a:t>
            </a:r>
            <a:r>
              <a:rPr lang="en-US" altLang="zh-CN" dirty="0"/>
              <a:t> </a:t>
            </a:r>
            <a:r>
              <a:rPr lang="zh-CN" altLang="en-US" dirty="0"/>
              <a:t>标题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C7603E8-A115-49DA-B619-EE86EA4D60EE}"/>
              </a:ext>
            </a:extLst>
          </p:cNvPr>
          <p:cNvGrpSpPr/>
          <p:nvPr/>
        </p:nvGrpSpPr>
        <p:grpSpPr>
          <a:xfrm>
            <a:off x="2189686" y="1869952"/>
            <a:ext cx="6598714" cy="536575"/>
            <a:chOff x="2037286" y="1849632"/>
            <a:chExt cx="6598714" cy="536575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0E28B5A6-DA98-4585-9964-46B91E652ED0}"/>
                </a:ext>
              </a:extLst>
            </p:cNvPr>
            <p:cNvSpPr/>
            <p:nvPr/>
          </p:nvSpPr>
          <p:spPr>
            <a:xfrm>
              <a:off x="2037286" y="1849632"/>
              <a:ext cx="630237" cy="536575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.1</a:t>
              </a:r>
              <a:endParaRPr lang="zh-CN" alt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15D5B340-AD82-492C-A67E-F9214093451D}"/>
                </a:ext>
              </a:extLst>
            </p:cNvPr>
            <p:cNvSpPr/>
            <p:nvPr/>
          </p:nvSpPr>
          <p:spPr>
            <a:xfrm>
              <a:off x="2890726" y="1849632"/>
              <a:ext cx="5745274" cy="53576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zh-CN" altLang="en-US" sz="2800" b="1" kern="0" dirty="0">
                  <a:solidFill>
                    <a:srgbClr val="FFFFFF"/>
                  </a:solidFill>
                  <a:latin typeface="Times New Roman" panose="02020503050405090304" pitchFamily="18" charset="0"/>
                  <a:ea typeface="楷体" panose="02010609060101010101" pitchFamily="49" charset="-122"/>
                  <a:cs typeface="Times New Roman" panose="02020503050405090304" pitchFamily="18" charset="0"/>
                </a:rPr>
                <a:t>标题</a:t>
              </a:r>
              <a:endParaRPr lang="zh-CN" altLang="en-US" dirty="0"/>
            </a:p>
          </p:txBody>
        </p:sp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908AB2D4-20C7-420D-9935-45C03AF9C5FC}"/>
              </a:ext>
            </a:extLst>
          </p:cNvPr>
          <p:cNvGrpSpPr/>
          <p:nvPr/>
        </p:nvGrpSpPr>
        <p:grpSpPr>
          <a:xfrm>
            <a:off x="2189686" y="2750379"/>
            <a:ext cx="6598714" cy="536575"/>
            <a:chOff x="2037286" y="2730059"/>
            <a:chExt cx="6598714" cy="536575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CED7DF58-16F0-46CF-B60A-C2342A27E530}"/>
                </a:ext>
              </a:extLst>
            </p:cNvPr>
            <p:cNvSpPr/>
            <p:nvPr/>
          </p:nvSpPr>
          <p:spPr>
            <a:xfrm>
              <a:off x="2037286" y="2730059"/>
              <a:ext cx="630237" cy="536575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.2</a:t>
              </a:r>
              <a:endParaRPr lang="zh-CN" alt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00DA8657-8299-4362-8C4A-C0FA91153BEF}"/>
                </a:ext>
              </a:extLst>
            </p:cNvPr>
            <p:cNvSpPr/>
            <p:nvPr/>
          </p:nvSpPr>
          <p:spPr>
            <a:xfrm>
              <a:off x="2890726" y="2730866"/>
              <a:ext cx="5745274" cy="53576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zh-CN" altLang="en-US" sz="2800" b="1" kern="0" dirty="0">
                  <a:solidFill>
                    <a:srgbClr val="FFFFFF"/>
                  </a:solidFill>
                  <a:latin typeface="Times New Roman" panose="02020503050405090304" pitchFamily="18" charset="0"/>
                  <a:ea typeface="楷体" panose="02010609060101010101" pitchFamily="49" charset="-122"/>
                  <a:cs typeface="Times New Roman" panose="02020503050405090304" pitchFamily="18" charset="0"/>
                </a:rPr>
                <a:t>标题</a:t>
              </a:r>
              <a:endParaRPr lang="zh-CN" altLang="en-US" dirty="0"/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6CF2AD3F-F158-4FF5-8D98-B5DE1A16B6D3}"/>
              </a:ext>
            </a:extLst>
          </p:cNvPr>
          <p:cNvGrpSpPr/>
          <p:nvPr/>
        </p:nvGrpSpPr>
        <p:grpSpPr>
          <a:xfrm>
            <a:off x="2189686" y="3618147"/>
            <a:ext cx="6598714" cy="536575"/>
            <a:chOff x="2037286" y="3597827"/>
            <a:chExt cx="6598714" cy="536575"/>
          </a:xfrm>
        </p:grpSpPr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63E13BE3-F957-44B3-A8B4-2692CE7E64BF}"/>
                </a:ext>
              </a:extLst>
            </p:cNvPr>
            <p:cNvSpPr/>
            <p:nvPr/>
          </p:nvSpPr>
          <p:spPr>
            <a:xfrm>
              <a:off x="2037286" y="3597827"/>
              <a:ext cx="630237" cy="536575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.3</a:t>
              </a:r>
              <a:endParaRPr lang="zh-CN" alt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81DDD20E-A8AF-468C-A953-712062F28626}"/>
                </a:ext>
              </a:extLst>
            </p:cNvPr>
            <p:cNvSpPr/>
            <p:nvPr/>
          </p:nvSpPr>
          <p:spPr>
            <a:xfrm>
              <a:off x="2890726" y="3598634"/>
              <a:ext cx="5745274" cy="53576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zh-CN" altLang="en-US" sz="2800" b="1" kern="0" dirty="0">
                  <a:solidFill>
                    <a:srgbClr val="FFFFFF"/>
                  </a:solidFill>
                  <a:latin typeface="Times New Roman" panose="02020503050405090304" pitchFamily="18" charset="0"/>
                  <a:ea typeface="楷体" panose="02010609060101010101" pitchFamily="49" charset="-122"/>
                  <a:cs typeface="Times New Roman" panose="02020503050405090304" pitchFamily="18" charset="0"/>
                </a:rPr>
                <a:t>标题</a:t>
              </a:r>
              <a:endParaRPr lang="zh-CN" altLang="en-US" dirty="0"/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4396D748-920F-4CED-B164-5F6A7C873B43}"/>
              </a:ext>
            </a:extLst>
          </p:cNvPr>
          <p:cNvGrpSpPr/>
          <p:nvPr/>
        </p:nvGrpSpPr>
        <p:grpSpPr>
          <a:xfrm>
            <a:off x="2189686" y="4492113"/>
            <a:ext cx="6598714" cy="536575"/>
            <a:chOff x="2037286" y="4471793"/>
            <a:chExt cx="6598714" cy="536575"/>
          </a:xfrm>
        </p:grpSpPr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B948659D-1F68-4E8D-AA89-E60DF64B533C}"/>
                </a:ext>
              </a:extLst>
            </p:cNvPr>
            <p:cNvSpPr/>
            <p:nvPr/>
          </p:nvSpPr>
          <p:spPr>
            <a:xfrm>
              <a:off x="2037286" y="4471793"/>
              <a:ext cx="630237" cy="536575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.4</a:t>
              </a:r>
              <a:endParaRPr lang="zh-CN" alt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1261F1CA-6CCE-469D-B12F-9585A2721A4C}"/>
                </a:ext>
              </a:extLst>
            </p:cNvPr>
            <p:cNvSpPr/>
            <p:nvPr/>
          </p:nvSpPr>
          <p:spPr>
            <a:xfrm>
              <a:off x="2890726" y="4472600"/>
              <a:ext cx="5745274" cy="53576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zh-CN" altLang="en-US" sz="2800" b="1" kern="0" dirty="0">
                  <a:solidFill>
                    <a:srgbClr val="FFFFFF"/>
                  </a:solidFill>
                  <a:latin typeface="Times New Roman" panose="02020503050405090304" pitchFamily="18" charset="0"/>
                  <a:ea typeface="楷体" panose="02010609060101010101" pitchFamily="49" charset="-122"/>
                  <a:cs typeface="Times New Roman" panose="02020503050405090304" pitchFamily="18" charset="0"/>
                </a:rPr>
                <a:t>标题</a:t>
              </a:r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03693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D36A0717-7142-440A-B9AC-186EDA3961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E614566-A3F6-44FF-B564-6FEA23BFB9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zh-CN" altLang="en-US" dirty="0"/>
              <a:t>资料来源：</a:t>
            </a:r>
          </a:p>
        </p:txBody>
      </p:sp>
    </p:spTree>
    <p:extLst>
      <p:ext uri="{BB962C8B-B14F-4D97-AF65-F5344CB8AC3E}">
        <p14:creationId xmlns:p14="http://schemas.microsoft.com/office/powerpoint/2010/main" val="28905589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D36A0717-7142-440A-B9AC-186EDA3961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8" y="404813"/>
            <a:ext cx="3960812" cy="490537"/>
          </a:xfrm>
        </p:spPr>
        <p:txBody>
          <a:bodyPr/>
          <a:lstStyle/>
          <a:p>
            <a:r>
              <a:rPr lang="en-US" altLang="zh-CN" dirty="0"/>
              <a:t>1.1 </a:t>
            </a:r>
            <a:r>
              <a:rPr lang="zh-CN" altLang="en-US" dirty="0"/>
              <a:t>参考案例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E614566-A3F6-44FF-B564-6FEA23BFB9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zh-CN" altLang="en-US" dirty="0"/>
              <a:t>资料来源：</a:t>
            </a: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C8274369-C19F-4B87-893F-33847724F02F}"/>
              </a:ext>
            </a:extLst>
          </p:cNvPr>
          <p:cNvCxnSpPr>
            <a:cxnSpLocks/>
          </p:cNvCxnSpPr>
          <p:nvPr/>
        </p:nvCxnSpPr>
        <p:spPr>
          <a:xfrm>
            <a:off x="783470" y="1460793"/>
            <a:ext cx="496398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269DB2F3-2A2D-4F6D-A189-ACEE98C3F097}"/>
              </a:ext>
            </a:extLst>
          </p:cNvPr>
          <p:cNvSpPr txBox="1"/>
          <p:nvPr/>
        </p:nvSpPr>
        <p:spPr>
          <a:xfrm>
            <a:off x="660528" y="1078499"/>
            <a:ext cx="5126018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kumimoji="1" lang="en-US" altLang="zh-CN" sz="1600" b="1" dirty="0">
                <a:ea typeface="楷体" panose="02010609060101010101" pitchFamily="49" charset="-122"/>
                <a:cs typeface="Times New Roman" panose="02020503050405090304" pitchFamily="18" charset="0"/>
              </a:rPr>
              <a:t>2020</a:t>
            </a:r>
            <a:r>
              <a:rPr kumimoji="1" lang="zh-CN" altLang="en-US" sz="1600" b="1" dirty="0">
                <a:ea typeface="楷体" panose="02010609060101010101" pitchFamily="49" charset="-122"/>
                <a:cs typeface="Times New Roman" panose="02020503050405090304" pitchFamily="18" charset="0"/>
              </a:rPr>
              <a:t>年中国游戏市场 </a:t>
            </a:r>
            <a:r>
              <a:rPr kumimoji="1" lang="en-US" altLang="zh-CN" sz="1600" b="1" dirty="0">
                <a:ea typeface="楷体" panose="02010609060101010101" pitchFamily="49" charset="-122"/>
                <a:cs typeface="Times New Roman" panose="02020503050405090304" pitchFamily="18" charset="0"/>
              </a:rPr>
              <a:t>2787</a:t>
            </a:r>
            <a:r>
              <a:rPr kumimoji="1" lang="zh-CN" altLang="en-US" sz="1600" b="1" dirty="0">
                <a:ea typeface="楷体" panose="02010609060101010101" pitchFamily="49" charset="-122"/>
                <a:cs typeface="Times New Roman" panose="02020503050405090304" pitchFamily="18" charset="0"/>
              </a:rPr>
              <a:t>亿元 收入占比（</a:t>
            </a:r>
            <a:r>
              <a:rPr kumimoji="1" lang="en-US" altLang="zh-CN" sz="1600" b="1" dirty="0">
                <a:ea typeface="楷体" panose="02010609060101010101" pitchFamily="49" charset="-122"/>
                <a:cs typeface="Times New Roman" panose="02020503050405090304" pitchFamily="18" charset="0"/>
              </a:rPr>
              <a:t>%</a:t>
            </a:r>
            <a:r>
              <a:rPr kumimoji="1" lang="zh-CN" altLang="en-US" sz="1600" b="1" dirty="0">
                <a:ea typeface="楷体" panose="02010609060101010101" pitchFamily="49" charset="-122"/>
                <a:cs typeface="Times New Roman" panose="02020503050405090304" pitchFamily="18" charset="0"/>
              </a:rPr>
              <a:t>）</a:t>
            </a:r>
          </a:p>
        </p:txBody>
      </p: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3E8B3D15-E845-4F6D-AE63-D9E8B3E2B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197887"/>
              </p:ext>
            </p:extLst>
          </p:nvPr>
        </p:nvGraphicFramePr>
        <p:xfrm>
          <a:off x="1289365" y="1762418"/>
          <a:ext cx="3681412" cy="2265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ADDF912-0719-489D-90CC-0AE659E9066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231002" y="2776831"/>
            <a:ext cx="7175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395A99-E677-4DE6-B13F-4E8F4C057EB2}" type="datetime'''''''''''''''''移''''''''''''''''''''''''动游''''''戏'''''''''''">
              <a:rPr lang="zh-CN" altLang="en-US" sz="1400" smtClean="0">
                <a:latin typeface="+mn-lt"/>
                <a:ea typeface="+mn-ea"/>
              </a:rPr>
              <a:pPr/>
              <a:t>移动游戏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F5580F6-8F28-4073-96A1-277BDC3BD3A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832415" y="2145006"/>
            <a:ext cx="515938" cy="2032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414DD3-5313-4E8A-A091-2B79A900F3CD}" type="datetime'''''''''''''''''''''1''''''''''''''.9''''''6''''''''''%'''">
              <a:rPr lang="en-US" altLang="en-US" sz="1400" smtClean="0">
                <a:solidFill>
                  <a:schemeClr val="bg1"/>
                </a:solidFill>
                <a:effectLst/>
                <a:latin typeface="+mn-lt"/>
                <a:ea typeface="+mn-ea"/>
              </a:rPr>
              <a:pPr/>
              <a:t>1.96%</a:t>
            </a:fld>
            <a:endParaRPr lang="zh-CN" altLang="en-US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FF6055E-7B34-42CB-9B89-65C29A5FAAC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65677" y="1624306"/>
            <a:ext cx="7175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2C574BF-8DA8-4B76-9691-E68A566FEECB}" type="datetime'''''网''页''''''''''''''''''游''''''''''''''''''''''''''戏'">
              <a:rPr lang="zh-CN" altLang="en-US" sz="1400" smtClean="0">
                <a:latin typeface="+mn-lt"/>
                <a:ea typeface="+mn-ea"/>
              </a:rPr>
              <a:pPr/>
              <a:t>网页游戏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E04304B-4C30-4A9D-8A8A-08C00E9148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43340" y="2059281"/>
            <a:ext cx="8953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8F53DF8-C174-41BB-9F50-3D4E764A44F4}" type="datetime'''''''''''''''''''''''客''''''''''''户''''''端''''''游''''戏'">
              <a:rPr lang="zh-CN" altLang="en-US" sz="1400" smtClean="0">
                <a:latin typeface="+mn-lt"/>
                <a:ea typeface="+mn-ea"/>
              </a:rPr>
              <a:pPr/>
              <a:t>客户端游戏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B3DEAD7-DE1F-4B08-A7F1-225CB3CD71A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91127" y="1941806"/>
            <a:ext cx="515938" cy="2032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62F80-E2FE-462C-B754-69965CB33855}" type="datetime'''''''''''''''''2''''''.''''''''7''''''3''%'''''''''''''">
              <a:rPr lang="en-US" altLang="en-US" sz="1400" smtClean="0">
                <a:solidFill>
                  <a:schemeClr val="bg1"/>
                </a:solidFill>
                <a:effectLst/>
                <a:latin typeface="+mn-lt"/>
                <a:ea typeface="+mn-ea"/>
              </a:rPr>
              <a:pPr/>
              <a:t>2.73%</a:t>
            </a:fld>
            <a:endParaRPr lang="zh-CN" altLang="en-US" sz="140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A4C720A-3D3C-4686-9245-B010E713DE1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034027" y="1614781"/>
            <a:ext cx="7175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C198F5-F921-424E-956C-E568CC17CEFF}" type="datetime'''''''''''''''''''''其''''''''''他游''''''''''''''戏'''''''''''''">
              <a:rPr lang="zh-CN" altLang="en-US" sz="1400" smtClean="0">
                <a:latin typeface="+mn-lt"/>
                <a:ea typeface="+mn-ea"/>
              </a:rPr>
              <a:pPr/>
              <a:t>其他游戏</a:t>
            </a:fld>
            <a:endParaRPr lang="zh-CN" altLang="en-US" sz="1400" dirty="0">
              <a:latin typeface="+mn-lt"/>
              <a:ea typeface="+mn-ea"/>
            </a:endParaRPr>
          </a:p>
        </p:txBody>
      </p:sp>
      <p:graphicFrame>
        <p:nvGraphicFramePr>
          <p:cNvPr id="14" name="Chart 3">
            <a:extLst>
              <a:ext uri="{FF2B5EF4-FFF2-40B4-BE49-F238E27FC236}">
                <a16:creationId xmlns:a16="http://schemas.microsoft.com/office/drawing/2014/main" id="{2FF5E130-6EDB-475E-B67F-5E6AF178F435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5075823"/>
              </p:ext>
            </p:extLst>
          </p:nvPr>
        </p:nvGraphicFramePr>
        <p:xfrm>
          <a:off x="844865" y="5269742"/>
          <a:ext cx="4710112" cy="96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7" name="矩形 16">
            <a:extLst>
              <a:ext uri="{FF2B5EF4-FFF2-40B4-BE49-F238E27FC236}">
                <a16:creationId xmlns:a16="http://schemas.microsoft.com/office/drawing/2014/main" id="{B83BE812-CA17-412F-A976-69FE50FD4F6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364227" y="4795080"/>
            <a:ext cx="250825" cy="187325"/>
          </a:xfrm>
          <a:prstGeom prst="rect">
            <a:avLst/>
          </a:prstGeom>
          <a:solidFill>
            <a:schemeClr val="accent4"/>
          </a:solidFill>
          <a:ln w="139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397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40FB08F-48B3-4282-A8F5-246A80B9BFC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44877" y="5052255"/>
            <a:ext cx="250825" cy="187325"/>
          </a:xfrm>
          <a:prstGeom prst="rect">
            <a:avLst/>
          </a:prstGeom>
          <a:solidFill>
            <a:srgbClr val="C0C0C0"/>
          </a:solidFill>
          <a:ln w="139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1365086D-7238-4567-A640-101AB75A17C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065652" y="4795080"/>
            <a:ext cx="250825" cy="187325"/>
          </a:xfrm>
          <a:prstGeom prst="rect">
            <a:avLst/>
          </a:prstGeom>
          <a:solidFill>
            <a:srgbClr val="808080"/>
          </a:solidFill>
          <a:ln w="139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B7E7D9A-ECAC-4054-BE51-A077D76C29D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944877" y="4795080"/>
            <a:ext cx="250825" cy="187325"/>
          </a:xfrm>
          <a:prstGeom prst="rect">
            <a:avLst/>
          </a:prstGeom>
          <a:solidFill>
            <a:srgbClr val="D6D7D9"/>
          </a:solidFill>
          <a:ln w="139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9E38EF7-E5BE-4DFB-B2FE-3F4FC72EE01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065652" y="5052255"/>
            <a:ext cx="250825" cy="187325"/>
          </a:xfrm>
          <a:prstGeom prst="rect">
            <a:avLst/>
          </a:prstGeom>
          <a:solidFill>
            <a:schemeClr val="accent5"/>
          </a:solidFill>
          <a:ln w="139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78804B08-BCD3-47DD-A027-19CA693EAA1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485002" y="4795080"/>
            <a:ext cx="250825" cy="187325"/>
          </a:xfrm>
          <a:prstGeom prst="rect">
            <a:avLst/>
          </a:prstGeom>
          <a:solidFill>
            <a:schemeClr val="hlink"/>
          </a:solidFill>
          <a:ln w="139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15FE430D-53EE-4709-A0D5-9BEDFCB1CB7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364227" y="5052255"/>
            <a:ext cx="250825" cy="187325"/>
          </a:xfrm>
          <a:prstGeom prst="rect">
            <a:avLst/>
          </a:prstGeom>
          <a:solidFill>
            <a:schemeClr val="accent3"/>
          </a:solidFill>
          <a:ln w="139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397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A85099FA-2B28-4A7A-B278-5DEC30FDA43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485002" y="5052255"/>
            <a:ext cx="250825" cy="187325"/>
          </a:xfrm>
          <a:prstGeom prst="rect">
            <a:avLst/>
          </a:prstGeom>
          <a:solidFill>
            <a:schemeClr val="accent2"/>
          </a:solidFill>
          <a:ln w="139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F1DE16C-E13B-41F7-B2FE-27AEB5D6F27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367277" y="4798255"/>
            <a:ext cx="538163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68A015D-396F-40B0-9E22-966B38E12556}" type="datetime'''''''''''''中''''''''''手''''''游'''''''''''''''''">
              <a:rPr lang="zh-CN" altLang="en-US" sz="1400" smtClean="0">
                <a:latin typeface="+mn-lt"/>
                <a:ea typeface="+mn-ea"/>
              </a:rPr>
              <a:pPr/>
              <a:t>中手游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1F8BD0A-5B0E-40E9-87B1-C561DDD515C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665852" y="4798255"/>
            <a:ext cx="7175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A4C92B-E0BD-42F1-ABA7-0BAD3C595ED0}" type="datetime'''''''''灵''''''犀''''互''''''''''''娱'''''''''''''''''''''''">
              <a:rPr lang="zh-CN" altLang="en-US" sz="1400" smtClean="0">
                <a:latin typeface="+mn-lt"/>
                <a:ea typeface="+mn-ea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灵犀互娱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6FBB670-2721-4D08-A09B-A38E88FC731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786627" y="5055430"/>
            <a:ext cx="7175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F9AE3F-91A5-4A0A-BC07-683B551A6F86}" type="datetime'''腾''''''''''''讯游''''''''''''''''''''戏'''''''''''''''">
              <a:rPr lang="zh-CN" altLang="en-US" sz="1400" smtClean="0">
                <a:latin typeface="+mn-lt"/>
                <a:ea typeface="+mn-ea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腾讯游戏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5CF55D4-E497-4E54-A1DD-17BF74CA25D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786627" y="4798255"/>
            <a:ext cx="7175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CC04D2-F180-4793-AFF6-17784B71A5FA}" type="datetime'''''''''''''''''''''''''''''''''''网''''''''''易''游''''''''戏'">
              <a:rPr lang="zh-CN" altLang="en-US" sz="1400" smtClean="0">
                <a:latin typeface="+mn-lt"/>
                <a:ea typeface="+mn-ea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网易游戏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716BE37-2D25-46B7-ACD2-82D353C90D4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665852" y="5055430"/>
            <a:ext cx="7175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BE2A51-0A6D-45CC-A826-4AFB53EB2623}" type="datetime'''''''''''''三''七互''''''''''''''''娱'''''''''''''''">
              <a:rPr lang="zh-CN" altLang="en-US" sz="1400" smtClean="0">
                <a:latin typeface="+mn-lt"/>
                <a:ea typeface="+mn-ea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三七互娱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E883075-DBF2-47CA-9451-0C44DECAA79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367277" y="5055430"/>
            <a:ext cx="8953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F586EB-2A65-4B20-B166-236CDD9D002D}" type="datetime'''''''''''''''莉''莉丝''''''''''''''''''''''''''''''''游''''戏'''''">
              <a:rPr lang="zh-CN" altLang="en-US" sz="1400" smtClean="0">
                <a:latin typeface="+mn-lt"/>
                <a:ea typeface="+mn-ea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莉莉丝游戏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7E4D338E-0737-40B6-82D6-6B3CC600B94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246502" y="5055430"/>
            <a:ext cx="717550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6B6E2F-4B3D-40A4-BA58-CF0CD343CDEB}" type="datetime'''''''完''美''''''世''''''''''''''''''''''界'''''''">
              <a:rPr lang="zh-CN" altLang="en-US" sz="1400" smtClean="0">
                <a:latin typeface="+mn-lt"/>
                <a:ea typeface="+mn-ea"/>
              </a:rPr>
              <a:pPr/>
              <a:t>完美世界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5EB65E2-FDA8-430C-80BE-7048A900DC5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246502" y="4798255"/>
            <a:ext cx="358775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62" indent="-182862" algn="l" defTabSz="914309" rtl="0" eaLnBrk="1" latinLnBrk="0" hangingPunct="1">
              <a:lnSpc>
                <a:spcPct val="95000"/>
              </a:lnSpc>
              <a:spcBef>
                <a:spcPts val="1400"/>
              </a:spcBef>
              <a:spcAft>
                <a:spcPts val="2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3200" kern="1200" spc="11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1pPr>
            <a:lvl2pPr marL="457155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2pPr>
            <a:lvl3pPr marL="731448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3pPr>
            <a:lvl4pPr marL="100574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4pPr>
            <a:lvl5pPr marL="1280032" indent="-182862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defRPr>
            </a:lvl5pPr>
            <a:lvl6pPr marL="1600040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99731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0005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99746" indent="-228578" algn="l" defTabSz="914309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 2" panose="05020102010507070707" pitchFamily="18" charset="2"/>
              <a:buChar char=""/>
              <a:defRPr sz="1467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120D93-5BFF-4F53-910C-46598BFFBF4A}" type="datetime'''''''''''''''''''''''''''''''''''''''其''''''''''他'''''''''''">
              <a:rPr lang="zh-CN" altLang="en-US" sz="1400" smtClean="0">
                <a:latin typeface="+mn-lt"/>
                <a:ea typeface="+mn-ea"/>
              </a:rPr>
              <a:pPr/>
              <a:t>其他</a:t>
            </a:fld>
            <a:endParaRPr lang="zh-CN" altLang="en-US" sz="1400" dirty="0">
              <a:latin typeface="+mn-lt"/>
              <a:ea typeface="+mn-ea"/>
            </a:endParaRPr>
          </a:p>
        </p:txBody>
      </p:sp>
      <p:sp>
        <p:nvSpPr>
          <p:cNvPr id="33" name="箭头: 圆角右 32">
            <a:extLst>
              <a:ext uri="{FF2B5EF4-FFF2-40B4-BE49-F238E27FC236}">
                <a16:creationId xmlns:a16="http://schemas.microsoft.com/office/drawing/2014/main" id="{22A4B591-43A1-4ED6-81C5-101538FAB048}"/>
              </a:ext>
            </a:extLst>
          </p:cNvPr>
          <p:cNvSpPr/>
          <p:nvPr/>
        </p:nvSpPr>
        <p:spPr>
          <a:xfrm rot="5400000">
            <a:off x="3942087" y="3065746"/>
            <a:ext cx="1728522" cy="1150695"/>
          </a:xfrm>
          <a:prstGeom prst="bentArrow">
            <a:avLst>
              <a:gd name="adj1" fmla="val 17034"/>
              <a:gd name="adj2" fmla="val 22101"/>
              <a:gd name="adj3" fmla="val 24421"/>
              <a:gd name="adj4" fmla="val 0"/>
            </a:avLst>
          </a:prstGeom>
          <a:gradFill flip="none" rotWithShape="1">
            <a:gsLst>
              <a:gs pos="40000">
                <a:schemeClr val="accent2">
                  <a:alpha val="80000"/>
                </a:schemeClr>
              </a:gs>
              <a:gs pos="0">
                <a:schemeClr val="accent2">
                  <a:alpha val="20000"/>
                </a:schemeClr>
              </a:gs>
              <a:gs pos="100000">
                <a:schemeClr val="accent2">
                  <a:lumMod val="75000"/>
                </a:schemeClr>
              </a:gs>
            </a:gsLst>
            <a:lin ang="0" scaled="0"/>
            <a:tileRect/>
          </a:gra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zh-CN" altLang="en-US" b="1">
              <a:solidFill>
                <a:prstClr val="black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4A159D49-A7B5-4FA8-B176-8F1A273E9278}"/>
              </a:ext>
            </a:extLst>
          </p:cNvPr>
          <p:cNvSpPr txBox="1"/>
          <p:nvPr/>
        </p:nvSpPr>
        <p:spPr>
          <a:xfrm>
            <a:off x="559753" y="4243741"/>
            <a:ext cx="5126018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kumimoji="1" lang="en-US" altLang="zh-CN" sz="1600" b="1" dirty="0">
                <a:ea typeface="楷体" panose="02010609060101010101" pitchFamily="49" charset="-122"/>
                <a:cs typeface="Times New Roman" panose="02020503050405090304" pitchFamily="18" charset="0"/>
              </a:rPr>
              <a:t>2020H1</a:t>
            </a:r>
            <a:r>
              <a:rPr kumimoji="1" lang="zh-CN" altLang="en-US" sz="1600" b="1" dirty="0">
                <a:ea typeface="楷体" panose="02010609060101010101" pitchFamily="49" charset="-122"/>
                <a:cs typeface="Times New Roman" panose="02020503050405090304" pitchFamily="18" charset="0"/>
              </a:rPr>
              <a:t>中国移动游戏行业竞争格局</a:t>
            </a:r>
          </a:p>
        </p:txBody>
      </p: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E4F06593-4713-4BD6-A1DF-333128702ADF}"/>
              </a:ext>
            </a:extLst>
          </p:cNvPr>
          <p:cNvCxnSpPr>
            <a:cxnSpLocks/>
          </p:cNvCxnSpPr>
          <p:nvPr/>
        </p:nvCxnSpPr>
        <p:spPr>
          <a:xfrm>
            <a:off x="783470" y="4596106"/>
            <a:ext cx="496398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矩形 42">
            <a:extLst>
              <a:ext uri="{FF2B5EF4-FFF2-40B4-BE49-F238E27FC236}">
                <a16:creationId xmlns:a16="http://schemas.microsoft.com/office/drawing/2014/main" id="{38D65206-E684-41A7-A3FB-0323EB677247}"/>
              </a:ext>
            </a:extLst>
          </p:cNvPr>
          <p:cNvSpPr/>
          <p:nvPr/>
        </p:nvSpPr>
        <p:spPr>
          <a:xfrm>
            <a:off x="6395709" y="1078499"/>
            <a:ext cx="4657166" cy="2538528"/>
          </a:xfrm>
          <a:prstGeom prst="rect">
            <a:avLst/>
          </a:prstGeom>
          <a:solidFill>
            <a:schemeClr val="accent6">
              <a:lumMod val="40000"/>
              <a:lumOff val="60000"/>
              <a:alpha val="30196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华文楷体" panose="02010600040101010101" pitchFamily="2" charset="-122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B89CA5A4-01EB-4517-835F-50016B378B72}"/>
              </a:ext>
            </a:extLst>
          </p:cNvPr>
          <p:cNvSpPr txBox="1"/>
          <p:nvPr/>
        </p:nvSpPr>
        <p:spPr>
          <a:xfrm>
            <a:off x="7165776" y="1247776"/>
            <a:ext cx="328441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kumimoji="1" lang="zh-CN" altLang="en-US" sz="1600" b="1" dirty="0">
                <a:ea typeface="楷体" panose="02010609060101010101" pitchFamily="49" charset="-122"/>
                <a:cs typeface="Times New Roman" panose="02020503050405090304" pitchFamily="18" charset="0"/>
              </a:rPr>
              <a:t>中国游戏市场格局的变与不变</a:t>
            </a:r>
          </a:p>
        </p:txBody>
      </p:sp>
      <p:grpSp>
        <p:nvGrpSpPr>
          <p:cNvPr id="45" name="Group 358">
            <a:extLst>
              <a:ext uri="{FF2B5EF4-FFF2-40B4-BE49-F238E27FC236}">
                <a16:creationId xmlns:a16="http://schemas.microsoft.com/office/drawing/2014/main" id="{5202D8B8-71C8-48D1-9985-38C2BAA4C196}"/>
              </a:ext>
            </a:extLst>
          </p:cNvPr>
          <p:cNvGrpSpPr/>
          <p:nvPr/>
        </p:nvGrpSpPr>
        <p:grpSpPr>
          <a:xfrm rot="5400000">
            <a:off x="5838830" y="2077660"/>
            <a:ext cx="421359" cy="285294"/>
            <a:chOff x="4342524" y="3365468"/>
            <a:chExt cx="169075" cy="96075"/>
          </a:xfrm>
        </p:grpSpPr>
        <p:sp>
          <p:nvSpPr>
            <p:cNvPr id="46" name="Isosceles Triangle 359">
              <a:extLst>
                <a:ext uri="{FF2B5EF4-FFF2-40B4-BE49-F238E27FC236}">
                  <a16:creationId xmlns:a16="http://schemas.microsoft.com/office/drawing/2014/main" id="{CA7FCC03-551A-48BE-96E2-C7D544B1E899}"/>
                </a:ext>
              </a:extLst>
            </p:cNvPr>
            <p:cNvSpPr/>
            <p:nvPr/>
          </p:nvSpPr>
          <p:spPr>
            <a:xfrm flipV="1">
              <a:off x="4342524" y="3382135"/>
              <a:ext cx="169075" cy="79408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  <a:ea typeface="华文楷体" panose="02010600040101010101" pitchFamily="2" charset="-122"/>
              </a:endParaRPr>
            </a:p>
          </p:txBody>
        </p:sp>
        <p:sp>
          <p:nvSpPr>
            <p:cNvPr id="47" name="Isosceles Triangle 360">
              <a:extLst>
                <a:ext uri="{FF2B5EF4-FFF2-40B4-BE49-F238E27FC236}">
                  <a16:creationId xmlns:a16="http://schemas.microsoft.com/office/drawing/2014/main" id="{54A643B6-9420-4610-955F-DAE640CA5370}"/>
                </a:ext>
              </a:extLst>
            </p:cNvPr>
            <p:cNvSpPr/>
            <p:nvPr/>
          </p:nvSpPr>
          <p:spPr>
            <a:xfrm flipV="1">
              <a:off x="4352011" y="3365468"/>
              <a:ext cx="150101" cy="62950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 err="1">
                <a:solidFill>
                  <a:schemeClr val="tx1"/>
                </a:solidFill>
                <a:ea typeface="华文楷体" panose="02010600040101010101" pitchFamily="2" charset="-122"/>
              </a:endParaRPr>
            </a:p>
          </p:txBody>
        </p:sp>
      </p:grp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E5F96933-5794-4554-BEFB-6614BA786D10}"/>
              </a:ext>
            </a:extLst>
          </p:cNvPr>
          <p:cNvCxnSpPr>
            <a:cxnSpLocks/>
          </p:cNvCxnSpPr>
          <p:nvPr/>
        </p:nvCxnSpPr>
        <p:spPr>
          <a:xfrm>
            <a:off x="6096000" y="903645"/>
            <a:ext cx="0" cy="534575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本框 48">
            <a:extLst>
              <a:ext uri="{FF2B5EF4-FFF2-40B4-BE49-F238E27FC236}">
                <a16:creationId xmlns:a16="http://schemas.microsoft.com/office/drawing/2014/main" id="{C1AAB26E-23D0-498C-854D-5F8C0B986549}"/>
              </a:ext>
            </a:extLst>
          </p:cNvPr>
          <p:cNvSpPr txBox="1"/>
          <p:nvPr/>
        </p:nvSpPr>
        <p:spPr>
          <a:xfrm>
            <a:off x="6461761" y="1596677"/>
            <a:ext cx="460663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kumimoji="1" lang="zh-CN" altLang="en-US" sz="1400" b="1" dirty="0">
                <a:ea typeface="楷体" panose="02010609060101010101" pitchFamily="49" charset="-122"/>
                <a:cs typeface="Times New Roman" panose="02020503050405090304" pitchFamily="18" charset="0"/>
              </a:rPr>
              <a:t>不变的是头部：移动游戏行业集中度高</a:t>
            </a:r>
            <a:r>
              <a:rPr kumimoji="1" lang="zh-CN" altLang="en-US" sz="1400" dirty="0">
                <a:ea typeface="楷体" panose="02010609060101010101" pitchFamily="49" charset="-122"/>
                <a:cs typeface="Times New Roman" panose="02020503050405090304" pitchFamily="18" charset="0"/>
              </a:rPr>
              <a:t>，腾讯、网易、三七互娱三家企业占据近</a:t>
            </a:r>
            <a:r>
              <a:rPr kumimoji="1" lang="en-US" altLang="zh-CN" sz="1400" b="1" dirty="0">
                <a:solidFill>
                  <a:srgbClr val="C00000"/>
                </a:solidFill>
                <a:ea typeface="楷体" panose="02010609060101010101" pitchFamily="49" charset="-122"/>
                <a:cs typeface="Times New Roman" panose="02020503050405090304" pitchFamily="18" charset="0"/>
              </a:rPr>
              <a:t>80%</a:t>
            </a:r>
            <a:r>
              <a:rPr kumimoji="1" lang="zh-CN" altLang="en-US" sz="1400" dirty="0">
                <a:ea typeface="楷体" panose="02010609060101010101" pitchFamily="49" charset="-122"/>
                <a:cs typeface="Times New Roman" panose="02020503050405090304" pitchFamily="18" charset="0"/>
              </a:rPr>
              <a:t>的市场份额；腾讯、网易两强从未失去对市场的掌控，尤其是腾讯的霸主地位越来越稳固</a:t>
            </a:r>
            <a:endParaRPr kumimoji="1" lang="en-US" altLang="zh-CN" sz="1400" dirty="0">
              <a:ea typeface="楷体" panose="02010609060101010101" pitchFamily="49" charset="-122"/>
              <a:cs typeface="Times New Roman" panose="02020503050405090304" pitchFamily="18" charset="0"/>
            </a:endParaRP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zh-CN" altLang="en-US" sz="1400" b="1" dirty="0">
                <a:ea typeface="华文楷体" panose="02010600040101010101" pitchFamily="2" charset="-122"/>
              </a:rPr>
              <a:t>变的是准头部和腰部：</a:t>
            </a:r>
            <a:r>
              <a:rPr lang="zh-CN" altLang="en-US" sz="1400" dirty="0">
                <a:ea typeface="华文楷体" panose="02010600040101010101" pitchFamily="2" charset="-122"/>
              </a:rPr>
              <a:t>传统的</a:t>
            </a:r>
            <a:r>
              <a:rPr lang="en-US" altLang="zh-CN" sz="1400" dirty="0">
                <a:ea typeface="华文楷体" panose="02010600040101010101" pitchFamily="2" charset="-122"/>
              </a:rPr>
              <a:t>A</a:t>
            </a:r>
            <a:r>
              <a:rPr lang="zh-CN" altLang="en-US" sz="1400" dirty="0">
                <a:ea typeface="华文楷体" panose="02010600040101010101" pitchFamily="2" charset="-122"/>
              </a:rPr>
              <a:t>股上市游戏公司日益衰落，尤其是在新品类、新赛道上落后于新兴公司；</a:t>
            </a:r>
            <a:r>
              <a:rPr lang="en-US" altLang="zh-CN" sz="1400" dirty="0">
                <a:ea typeface="华文楷体" panose="02010600040101010101" pitchFamily="2" charset="-122"/>
              </a:rPr>
              <a:t>B</a:t>
            </a:r>
            <a:r>
              <a:rPr lang="zh-CN" altLang="en-US" sz="1400" dirty="0">
                <a:ea typeface="华文楷体" panose="02010600040101010101" pitchFamily="2" charset="-122"/>
              </a:rPr>
              <a:t>站和阿里游戏巩固了自己在腰部的地位，但是离头部差距甚远，面临极大竞争压</a:t>
            </a:r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922C0FAE-FD1F-4C4E-B3DC-0B54AF200A15}"/>
              </a:ext>
            </a:extLst>
          </p:cNvPr>
          <p:cNvGrpSpPr/>
          <p:nvPr/>
        </p:nvGrpSpPr>
        <p:grpSpPr>
          <a:xfrm>
            <a:off x="6403019" y="3757418"/>
            <a:ext cx="4657166" cy="2368201"/>
            <a:chOff x="6403019" y="3757418"/>
            <a:chExt cx="4657166" cy="2368201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3DA9495E-5A6D-4DF1-A4C1-90CE7499B2EA}"/>
                </a:ext>
              </a:extLst>
            </p:cNvPr>
            <p:cNvSpPr/>
            <p:nvPr/>
          </p:nvSpPr>
          <p:spPr>
            <a:xfrm>
              <a:off x="6403019" y="3757418"/>
              <a:ext cx="4657166" cy="2368201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00" dirty="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4EE75EF9-8B07-45C7-961D-DA041310B60B}"/>
                </a:ext>
              </a:extLst>
            </p:cNvPr>
            <p:cNvSpPr txBox="1"/>
            <p:nvPr/>
          </p:nvSpPr>
          <p:spPr>
            <a:xfrm>
              <a:off x="6431834" y="3779661"/>
              <a:ext cx="4545481" cy="23237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zh-CN" altLang="en-US" sz="1400" b="1" dirty="0">
                  <a:ea typeface="华文楷体" panose="02010600040101010101" pitchFamily="2" charset="-122"/>
                </a:rPr>
                <a:t>竞争的关键因素：</a:t>
              </a:r>
              <a:endParaRPr lang="en-US" altLang="zh-CN" sz="1400" b="1" dirty="0">
                <a:ea typeface="华文楷体" panose="02010600040101010101" pitchFamily="2" charset="-122"/>
              </a:endParaRPr>
            </a:p>
            <a:p>
              <a:pPr marL="180000" indent="-180000">
                <a:buFont typeface="Arial" panose="020B0604020202020204" pitchFamily="34" charset="0"/>
                <a:buChar char="•"/>
              </a:pPr>
              <a:r>
                <a:rPr lang="zh-CN" altLang="en-US" sz="1400" b="1" dirty="0">
                  <a:ea typeface="华文楷体" panose="02010600040101010101" pitchFamily="2" charset="-122"/>
                </a:rPr>
                <a:t>内容（研发环节）：在任何内容行业，内容质量都应该是最终的决定性因素</a:t>
              </a:r>
              <a:r>
                <a:rPr lang="zh-CN" altLang="en-US" sz="1400" dirty="0">
                  <a:ea typeface="华文楷体" panose="02010600040101010101" pitchFamily="2" charset="-122"/>
                </a:rPr>
                <a:t>，游戏产业链的其他环节服务研发</a:t>
              </a:r>
              <a:endParaRPr lang="en-US" altLang="zh-CN" sz="1400" dirty="0">
                <a:ea typeface="华文楷体" panose="02010600040101010101" pitchFamily="2" charset="-122"/>
              </a:endParaRPr>
            </a:p>
            <a:p>
              <a:pPr marL="180000" indent="-180000">
                <a:buFont typeface="Arial" panose="020B0604020202020204" pitchFamily="34" charset="0"/>
                <a:buChar char="•"/>
              </a:pPr>
              <a:r>
                <a:rPr lang="zh-CN" altLang="en-US" sz="1400" b="1" dirty="0">
                  <a:ea typeface="华文楷体" panose="02010600040101010101" pitchFamily="2" charset="-122"/>
                </a:rPr>
                <a:t>运营（发行环节）：游戏的上限取决于强大的运营，</a:t>
              </a:r>
              <a:r>
                <a:rPr lang="zh-CN" altLang="en-US" sz="1400" dirty="0">
                  <a:ea typeface="华文楷体" panose="02010600040101010101" pitchFamily="2" charset="-122"/>
                </a:rPr>
                <a:t>包括客服、促销活动、拉回流等多个层面。</a:t>
              </a:r>
              <a:r>
                <a:rPr lang="zh-CN" altLang="en-US" sz="1400" b="1" dirty="0">
                  <a:ea typeface="华文楷体" panose="02010600040101010101" pitchFamily="2" charset="-122"/>
                </a:rPr>
                <a:t>此外，一个优秀的发行方必须促进产品的有序迭代，尤其是对于第三方产品而言更是如此</a:t>
              </a:r>
              <a:endParaRPr lang="en-US" altLang="zh-CN" sz="1400" b="1" dirty="0">
                <a:ea typeface="华文楷体" panose="02010600040101010101" pitchFamily="2" charset="-122"/>
              </a:endParaRPr>
            </a:p>
            <a:p>
              <a:pPr marL="180000" indent="-180000">
                <a:buFont typeface="Arial" panose="020B0604020202020204" pitchFamily="34" charset="0"/>
                <a:buChar char="•"/>
              </a:pPr>
              <a:r>
                <a:rPr lang="zh-CN" altLang="en-US" sz="1400" b="1" dirty="0">
                  <a:ea typeface="华文楷体" panose="02010600040101010101" pitchFamily="2" charset="-122"/>
                </a:rPr>
                <a:t>社交体系（渠道环节）：</a:t>
              </a:r>
              <a:r>
                <a:rPr lang="zh-CN" altLang="en-US" sz="1400" dirty="0">
                  <a:ea typeface="华文楷体" panose="02010600040101010101" pitchFamily="2" charset="-122"/>
                </a:rPr>
                <a:t>账号体系对</a:t>
              </a:r>
              <a:r>
                <a:rPr lang="en-US" altLang="zh-CN" sz="1400" dirty="0">
                  <a:ea typeface="华文楷体" panose="02010600040101010101" pitchFamily="2" charset="-122"/>
                </a:rPr>
                <a:t>MOBA</a:t>
              </a:r>
              <a:r>
                <a:rPr lang="zh-CN" altLang="en-US" sz="1400" dirty="0">
                  <a:ea typeface="华文楷体" panose="02010600040101010101" pitchFamily="2" charset="-122"/>
                </a:rPr>
                <a:t>游戏尤为重要，帮助玩家发展游戏内部社交（腾讯王者地位）</a:t>
              </a:r>
              <a:endParaRPr lang="en-US" altLang="zh-CN" sz="1400" dirty="0">
                <a:ea typeface="华文楷体" panose="02010600040101010101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38934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2F2D1AA7-9818-43FE-8F72-5B26971F8A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dirty="0"/>
              <a:t>谢谢大家！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5BD1C00-12AE-4905-A5F9-D8CA74BDEB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4A5B48B-FD03-4558-BDB2-6115281413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2F305A6-09D3-4FF9-8F74-40D1473D41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zh-CN" altLang="en-US" dirty="0"/>
              <a:t>北京大学金融科技协会</a:t>
            </a:r>
          </a:p>
        </p:txBody>
      </p:sp>
    </p:spTree>
    <p:extLst>
      <p:ext uri="{BB962C8B-B14F-4D97-AF65-F5344CB8AC3E}">
        <p14:creationId xmlns:p14="http://schemas.microsoft.com/office/powerpoint/2010/main" val="3883088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文本框 3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文本框 3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文本框 3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直接连接符 3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eG46ZGto1gQB3Vtb6H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WKAJ9hjwQZw4ptYwdn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J_saXc0uv0HkaGJZ4s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UPH7j9cr6Hy0KficLB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.YRzElZklIt.5vpRCm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xIRznrBV_7hOMi_vft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1K2IxETltOOVJVRnOP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文本框 3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HqmJBpBH1KpAIgWRKb1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3mrACfoShK8t3af2.0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kySvpew_DcvwwvdheU2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DyD846Erq1BNKJibi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YGYRn14KY0.y3MG48O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k4RmUFFNjPt7QEfqEs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Sl9uEzkEeEoNpPkBR9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Q4JoBVXGcY5KOZk3G7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psBP3ns5BFCs5FKcnb_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_Jc.VjOcwbJCYiHcxm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直接连接符 3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2nem6F7rFtAQVK4sHn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MQUJEcJbVyo_yjQST9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qyce6Plgc2TUyg.DTkT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xDaMVaGRm5FF8DSRQL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rHX2sM6iDXIlrDOp.1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uRGW7Wwi1HwIdjSVgk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1SARKv5PHz_5rT1zX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文本框 3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文本框 3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直接连接符 3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文本框 3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文本框 3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011171221"/>
  <p:tag name="MH_LIBRARY" val="GRAPHIC"/>
  <p:tag name="MH_ORDER" val="直接连接符 38"/>
</p:tagLst>
</file>

<file path=ppt/theme/theme1.xml><?xml version="1.0" encoding="utf-8"?>
<a:theme xmlns:a="http://schemas.openxmlformats.org/drawingml/2006/main" name="Office 主题​​">
  <a:themeElements>
    <a:clrScheme name="自定义 7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CC0000"/>
      </a:accent1>
      <a:accent2>
        <a:srgbClr val="A50021"/>
      </a:accent2>
      <a:accent3>
        <a:srgbClr val="595959"/>
      </a:accent3>
      <a:accent4>
        <a:srgbClr val="7F7F7F"/>
      </a:accent4>
      <a:accent5>
        <a:srgbClr val="F2F2F2"/>
      </a:accent5>
      <a:accent6>
        <a:srgbClr val="9C6A6A"/>
      </a:accent6>
      <a:hlink>
        <a:srgbClr val="2998E3"/>
      </a:hlink>
      <a:folHlink>
        <a:srgbClr val="7F723D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87</TotalTime>
  <Words>306</Words>
  <Application>Microsoft Macintosh PowerPoint</Application>
  <PresentationFormat>宽屏</PresentationFormat>
  <Paragraphs>50</Paragraphs>
  <Slides>6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4" baseType="lpstr">
      <vt:lpstr>等线</vt:lpstr>
      <vt:lpstr>等线 Light</vt:lpstr>
      <vt:lpstr>黑体</vt:lpstr>
      <vt:lpstr>华文楷体</vt:lpstr>
      <vt:lpstr>楷体</vt:lpstr>
      <vt:lpstr>Arial</vt:lpstr>
      <vt:lpstr>Times New Roman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dell</dc:creator>
  <cp:lastModifiedBy>myanger2001@163.com</cp:lastModifiedBy>
  <cp:revision>66</cp:revision>
  <dcterms:created xsi:type="dcterms:W3CDTF">2022-02-07T09:20:54Z</dcterms:created>
  <dcterms:modified xsi:type="dcterms:W3CDTF">2022-11-09T15:04:53Z</dcterms:modified>
</cp:coreProperties>
</file>